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2.xml" ContentType="application/vnd.openxmlformats-officedocument.presentationml.tags+xml"/>
  <Override PartName="/ppt/notesSlides/notesSlide3.xml" ContentType="application/vnd.openxmlformats-officedocument.presentationml.notesSlide+xml"/>
  <Override PartName="/ppt/tags/tag73.xml" ContentType="application/vnd.openxmlformats-officedocument.presentationml.tags+xml"/>
  <Override PartName="/ppt/notesSlides/notesSlide4.xml" ContentType="application/vnd.openxmlformats-officedocument.presentationml.notesSlide+xml"/>
  <Override PartName="/ppt/tags/tag74.xml" ContentType="application/vnd.openxmlformats-officedocument.presentationml.tags+xml"/>
  <Override PartName="/ppt/notesSlides/notesSlide5.xml" ContentType="application/vnd.openxmlformats-officedocument.presentationml.notesSlide+xml"/>
  <Override PartName="/ppt/tags/tag75.xml" ContentType="application/vnd.openxmlformats-officedocument.presentationml.tags+xml"/>
  <Override PartName="/ppt/notesSlides/notesSlide6.xml" ContentType="application/vnd.openxmlformats-officedocument.presentationml.notesSlide+xml"/>
  <Override PartName="/ppt/tags/tag76.xml" ContentType="application/vnd.openxmlformats-officedocument.presentationml.tags+xml"/>
  <Override PartName="/ppt/notesSlides/notesSlide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8.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9.xml" ContentType="application/vnd.openxmlformats-officedocument.presentationml.notesSlide+xml"/>
  <Override PartName="/ppt/tags/tag125.xml" ContentType="application/vnd.openxmlformats-officedocument.presentationml.tags+xml"/>
  <Override PartName="/ppt/notesSlides/notesSlide10.xml" ContentType="application/vnd.openxmlformats-officedocument.presentationml.notesSlide+xml"/>
  <Override PartName="/ppt/tags/tag126.xml" ContentType="application/vnd.openxmlformats-officedocument.presentationml.tags+xml"/>
  <Override PartName="/ppt/notesSlides/notesSlide1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2.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3.xml" ContentType="application/vnd.openxmlformats-officedocument.presentationml.notesSlide+xml"/>
  <Override PartName="/ppt/tags/tag140.xml" ContentType="application/vnd.openxmlformats-officedocument.presentationml.tags+xml"/>
  <Override PartName="/ppt/notesSlides/notesSlide14.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15.xml" ContentType="application/vnd.openxmlformats-officedocument.presentationml.notesSlide+xml"/>
  <Override PartName="/ppt/tags/tag143.xml" ContentType="application/vnd.openxmlformats-officedocument.presentationml.tags+xml"/>
  <Override PartName="/ppt/notesSlides/notesSlide16.xml" ContentType="application/vnd.openxmlformats-officedocument.presentationml.notesSlide+xml"/>
  <Override PartName="/ppt/tags/tag14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1"/>
  </p:notesMasterIdLst>
  <p:handoutMasterIdLst>
    <p:handoutMasterId r:id="rId22"/>
  </p:handoutMasterIdLst>
  <p:sldIdLst>
    <p:sldId id="256" r:id="rId2"/>
    <p:sldId id="261" r:id="rId3"/>
    <p:sldId id="264" r:id="rId4"/>
    <p:sldId id="268" r:id="rId5"/>
    <p:sldId id="269" r:id="rId6"/>
    <p:sldId id="270" r:id="rId7"/>
    <p:sldId id="271" r:id="rId8"/>
    <p:sldId id="272" r:id="rId9"/>
    <p:sldId id="273" r:id="rId10"/>
    <p:sldId id="265" r:id="rId11"/>
    <p:sldId id="263" r:id="rId12"/>
    <p:sldId id="274" r:id="rId13"/>
    <p:sldId id="262" r:id="rId14"/>
    <p:sldId id="266" r:id="rId15"/>
    <p:sldId id="277" r:id="rId16"/>
    <p:sldId id="276" r:id="rId17"/>
    <p:sldId id="267" r:id="rId18"/>
    <p:sldId id="258" r:id="rId19"/>
    <p:sldId id="259" r:id="rId20"/>
  </p:sldIdLst>
  <p:sldSz cx="12192000" cy="6858000"/>
  <p:notesSz cx="9236075" cy="6950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7" autoAdjust="0"/>
  </p:normalViewPr>
  <p:slideViewPr>
    <p:cSldViewPr snapToGrid="0">
      <p:cViewPr>
        <p:scale>
          <a:sx n="68" d="100"/>
          <a:sy n="68" d="100"/>
        </p:scale>
        <p:origin x="84" y="1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8/23/2018</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8/23/2018</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422306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80374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2078275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96850"/>
            <a:ext cx="8820150" cy="4960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1</a:t>
            </a:fld>
            <a:endParaRPr lang="en-US" dirty="0"/>
          </a:p>
        </p:txBody>
      </p:sp>
    </p:spTree>
    <p:extLst>
      <p:ext uri="{BB962C8B-B14F-4D97-AF65-F5344CB8AC3E}">
        <p14:creationId xmlns:p14="http://schemas.microsoft.com/office/powerpoint/2010/main" val="2762560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7862588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615962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944419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971412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33266466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10044593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45294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2436192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675748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500738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2112271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244283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381920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ime to capture</a:t>
            </a:r>
            <a:r>
              <a:rPr lang="en-US" baseline="0" dirty="0" smtClean="0"/>
              <a:t> impact</a:t>
            </a:r>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602710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10216256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9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3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15"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6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Data Science - Learning Session 1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Data Science - Learning Session 1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0"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2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26.xml"/></Relationships>
</file>

<file path=ppt/slides/_rels/slide12.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14.emf"/><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oleObject" Target="../embeddings/oleObject17.bin"/><Relationship Id="rId2" Type="http://schemas.openxmlformats.org/officeDocument/2006/relationships/tags" Target="../tags/tag127.xml"/><Relationship Id="rId1" Type="http://schemas.openxmlformats.org/officeDocument/2006/relationships/vmlDrawing" Target="../drawings/vmlDrawing16.vml"/><Relationship Id="rId6" Type="http://schemas.openxmlformats.org/officeDocument/2006/relationships/tags" Target="../tags/tag131.xml"/><Relationship Id="rId11" Type="http://schemas.openxmlformats.org/officeDocument/2006/relationships/notesSlide" Target="../notesSlides/notesSlide12.xml"/><Relationship Id="rId5" Type="http://schemas.openxmlformats.org/officeDocument/2006/relationships/tags" Target="../tags/tag130.xml"/><Relationship Id="rId10" Type="http://schemas.openxmlformats.org/officeDocument/2006/relationships/slideLayout" Target="../slideLayouts/slideLayout2.xml"/><Relationship Id="rId4" Type="http://schemas.openxmlformats.org/officeDocument/2006/relationships/tags" Target="../tags/tag129.xml"/><Relationship Id="rId9" Type="http://schemas.openxmlformats.org/officeDocument/2006/relationships/tags" Target="../tags/tag134.xml"/></Relationships>
</file>

<file path=ppt/slides/_rels/slide13.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notesSlide" Target="../notesSlides/notesSlide13.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slideLayout" Target="../slideLayouts/slideLayout2.xml"/><Relationship Id="rId5" Type="http://schemas.openxmlformats.org/officeDocument/2006/relationships/tags" Target="../tags/tag139.xml"/><Relationship Id="rId4" Type="http://schemas.openxmlformats.org/officeDocument/2006/relationships/tags" Target="../tags/tag13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140.xml"/></Relationships>
</file>

<file path=ppt/slides/_rels/slide15.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15.emf"/><Relationship Id="rId2" Type="http://schemas.openxmlformats.org/officeDocument/2006/relationships/tags" Target="../tags/tag141.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4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14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7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7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8.xml.rels><?xml version="1.0" encoding="UTF-8" standalone="yes"?>
<Relationships xmlns="http://schemas.openxmlformats.org/package/2006/relationships"><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tags" Target="../tags/tag101.xml"/><Relationship Id="rId39" Type="http://schemas.openxmlformats.org/officeDocument/2006/relationships/tags" Target="../tags/tag114.xml"/><Relationship Id="rId3" Type="http://schemas.openxmlformats.org/officeDocument/2006/relationships/tags" Target="../tags/tag78.xml"/><Relationship Id="rId21" Type="http://schemas.openxmlformats.org/officeDocument/2006/relationships/tags" Target="../tags/tag96.xml"/><Relationship Id="rId34" Type="http://schemas.openxmlformats.org/officeDocument/2006/relationships/tags" Target="../tags/tag109.xml"/><Relationship Id="rId42" Type="http://schemas.openxmlformats.org/officeDocument/2006/relationships/tags" Target="../tags/tag117.xml"/><Relationship Id="rId47" Type="http://schemas.openxmlformats.org/officeDocument/2006/relationships/notesSlide" Target="../notesSlides/notesSlide8.xml"/><Relationship Id="rId50" Type="http://schemas.openxmlformats.org/officeDocument/2006/relationships/oleObject" Target="../embeddings/oleObject16.bin"/><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33" Type="http://schemas.openxmlformats.org/officeDocument/2006/relationships/tags" Target="../tags/tag108.xml"/><Relationship Id="rId38" Type="http://schemas.openxmlformats.org/officeDocument/2006/relationships/tags" Target="../tags/tag113.xml"/><Relationship Id="rId46" Type="http://schemas.openxmlformats.org/officeDocument/2006/relationships/slideLayout" Target="../slideLayouts/slideLayout2.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29" Type="http://schemas.openxmlformats.org/officeDocument/2006/relationships/tags" Target="../tags/tag104.xml"/><Relationship Id="rId41" Type="http://schemas.openxmlformats.org/officeDocument/2006/relationships/tags" Target="../tags/tag116.xml"/><Relationship Id="rId1" Type="http://schemas.openxmlformats.org/officeDocument/2006/relationships/vmlDrawing" Target="../drawings/vmlDrawing15.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32" Type="http://schemas.openxmlformats.org/officeDocument/2006/relationships/tags" Target="../tags/tag107.xml"/><Relationship Id="rId37" Type="http://schemas.openxmlformats.org/officeDocument/2006/relationships/tags" Target="../tags/tag112.xml"/><Relationship Id="rId40" Type="http://schemas.openxmlformats.org/officeDocument/2006/relationships/tags" Target="../tags/tag115.xml"/><Relationship Id="rId45" Type="http://schemas.openxmlformats.org/officeDocument/2006/relationships/tags" Target="../tags/tag120.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tags" Target="../tags/tag103.xml"/><Relationship Id="rId36" Type="http://schemas.openxmlformats.org/officeDocument/2006/relationships/tags" Target="../tags/tag111.xml"/><Relationship Id="rId49" Type="http://schemas.openxmlformats.org/officeDocument/2006/relationships/image" Target="../media/image11.emf"/><Relationship Id="rId10" Type="http://schemas.openxmlformats.org/officeDocument/2006/relationships/tags" Target="../tags/tag85.xml"/><Relationship Id="rId19" Type="http://schemas.openxmlformats.org/officeDocument/2006/relationships/tags" Target="../tags/tag94.xml"/><Relationship Id="rId31" Type="http://schemas.openxmlformats.org/officeDocument/2006/relationships/tags" Target="../tags/tag106.xml"/><Relationship Id="rId44" Type="http://schemas.openxmlformats.org/officeDocument/2006/relationships/tags" Target="../tags/tag119.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tags" Target="../tags/tag102.xml"/><Relationship Id="rId30" Type="http://schemas.openxmlformats.org/officeDocument/2006/relationships/tags" Target="../tags/tag105.xml"/><Relationship Id="rId35" Type="http://schemas.openxmlformats.org/officeDocument/2006/relationships/tags" Target="../tags/tag110.xml"/><Relationship Id="rId43" Type="http://schemas.openxmlformats.org/officeDocument/2006/relationships/tags" Target="../tags/tag118.xml"/><Relationship Id="rId48" Type="http://schemas.openxmlformats.org/officeDocument/2006/relationships/oleObject" Target="../embeddings/oleObject15.bin"/><Relationship Id="rId8" Type="http://schemas.openxmlformats.org/officeDocument/2006/relationships/tags" Target="../tags/tag83.xml"/><Relationship Id="rId51"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13.jpe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5266" b="5266"/>
          <a:stretch>
            <a:fillRect/>
          </a:stretch>
        </p:blipFill>
        <p:spPr/>
      </p:pic>
      <p:sp>
        <p:nvSpPr>
          <p:cNvPr id="5" name="Text Placeholder 4"/>
          <p:cNvSpPr>
            <a:spLocks noGrp="1"/>
          </p:cNvSpPr>
          <p:nvPr>
            <p:ph type="body" sz="quarter" idx="12"/>
          </p:nvPr>
        </p:nvSpPr>
        <p:spPr/>
        <p:txBody>
          <a:bodyPr/>
          <a:lstStyle/>
          <a:p>
            <a:r>
              <a:rPr lang="en-US" dirty="0" smtClean="0">
                <a:latin typeface="+mn-lt"/>
              </a:rPr>
              <a:t>8/23/2018</a:t>
            </a:r>
            <a:endParaRPr lang="en-US" dirty="0">
              <a:latin typeface="+mn-lt"/>
            </a:endParaRPr>
          </a:p>
        </p:txBody>
      </p:sp>
      <p:sp>
        <p:nvSpPr>
          <p:cNvPr id="3" name="Subtitle 2"/>
          <p:cNvSpPr>
            <a:spLocks noGrp="1"/>
          </p:cNvSpPr>
          <p:nvPr>
            <p:ph type="subTitle" idx="1"/>
          </p:nvPr>
        </p:nvSpPr>
        <p:spPr/>
        <p:txBody>
          <a:bodyPr/>
          <a:lstStyle/>
          <a:p>
            <a:r>
              <a:rPr lang="en-US" dirty="0" smtClean="0">
                <a:latin typeface="+mn-lt"/>
              </a:rPr>
              <a:t>Data Science Process, Data Pipelining, Feature Engineering, and Outcomes</a:t>
            </a:r>
            <a:endParaRPr lang="en-US" dirty="0">
              <a:latin typeface="+mn-lt"/>
            </a:endParaRPr>
          </a:p>
        </p:txBody>
      </p:sp>
      <p:sp>
        <p:nvSpPr>
          <p:cNvPr id="2" name="Title 1"/>
          <p:cNvSpPr>
            <a:spLocks noGrp="1"/>
          </p:cNvSpPr>
          <p:nvPr>
            <p:ph type="ctrTitle"/>
          </p:nvPr>
        </p:nvSpPr>
        <p:spPr/>
        <p:txBody>
          <a:bodyPr/>
          <a:lstStyle/>
          <a:p>
            <a:r>
              <a:rPr lang="en-US" dirty="0" err="1" smtClean="0">
                <a:latin typeface="+mj-lt"/>
              </a:rPr>
              <a:t>Cinepolis</a:t>
            </a:r>
            <a:r>
              <a:rPr lang="en-US" dirty="0" smtClean="0"/>
              <a:t>: </a:t>
            </a:r>
            <a:r>
              <a:rPr lang="en-US" dirty="0" smtClean="0">
                <a:latin typeface="+mj-lt"/>
              </a:rPr>
              <a:t>Data Science Learning Session #1</a:t>
            </a:r>
            <a:endParaRPr lang="en-US" dirty="0">
              <a:latin typeface="+mj-lt"/>
            </a:endParaRPr>
          </a:p>
        </p:txBody>
      </p:sp>
    </p:spTree>
    <p:extLst>
      <p:ext uri="{BB962C8B-B14F-4D97-AF65-F5344CB8AC3E}">
        <p14:creationId xmlns:p14="http://schemas.microsoft.com/office/powerpoint/2010/main" val="300485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Science </a:t>
            </a:r>
            <a:r>
              <a:rPr lang="en-US" dirty="0"/>
              <a:t>o</a:t>
            </a:r>
            <a:r>
              <a:rPr lang="en-US" dirty="0" smtClean="0"/>
              <a:t>verview</a:t>
            </a:r>
            <a:endParaRPr lang="en-US" dirty="0"/>
          </a:p>
        </p:txBody>
      </p:sp>
    </p:spTree>
    <p:custDataLst>
      <p:tags r:id="rId1"/>
    </p:custDataLst>
    <p:extLst>
      <p:ext uri="{BB962C8B-B14F-4D97-AF65-F5344CB8AC3E}">
        <p14:creationId xmlns:p14="http://schemas.microsoft.com/office/powerpoint/2010/main" val="2506467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ee4pContent1"/>
          <p:cNvSpPr txBox="1"/>
          <p:nvPr/>
        </p:nvSpPr>
        <p:spPr>
          <a:xfrm>
            <a:off x="629400" y="3261674"/>
            <a:ext cx="3123862" cy="260632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Requires flexible infrastructures, new technologies, and capability to scale</a:t>
            </a:r>
            <a:endParaRPr lang="en-US" dirty="0">
              <a:latin typeface="+mn-lt"/>
            </a:endParaRPr>
          </a:p>
        </p:txBody>
      </p:sp>
      <p:sp>
        <p:nvSpPr>
          <p:cNvPr id="93" name="ee4pContent2"/>
          <p:cNvSpPr txBox="1"/>
          <p:nvPr/>
        </p:nvSpPr>
        <p:spPr>
          <a:xfrm>
            <a:off x="4533030" y="3261674"/>
            <a:ext cx="3125941" cy="260632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Well defined and high quality data that is consistently collected and maintained</a:t>
            </a:r>
            <a:endParaRPr lang="en-US" dirty="0">
              <a:latin typeface="+mn-lt"/>
            </a:endParaRPr>
          </a:p>
        </p:txBody>
      </p:sp>
      <p:sp>
        <p:nvSpPr>
          <p:cNvPr id="92" name="ee4pContent3"/>
          <p:cNvSpPr txBox="1"/>
          <p:nvPr/>
        </p:nvSpPr>
        <p:spPr>
          <a:xfrm>
            <a:off x="8437258" y="3261674"/>
            <a:ext cx="3125941" cy="260632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Defining problems to solve, framing experiments to run, and collecting/ validating results</a:t>
            </a:r>
            <a:endParaRPr lang="en-US" dirty="0">
              <a:latin typeface="+mn-lt"/>
            </a:endParaRPr>
          </a:p>
        </p:txBody>
      </p:sp>
      <p:sp>
        <p:nvSpPr>
          <p:cNvPr id="17" name="ee4pHeader1"/>
          <p:cNvSpPr txBox="1"/>
          <p:nvPr/>
        </p:nvSpPr>
        <p:spPr>
          <a:xfrm>
            <a:off x="629400" y="2310506"/>
            <a:ext cx="3123862"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Technology and infrastructure </a:t>
            </a:r>
            <a:endParaRPr lang="en-US" sz="2400" dirty="0">
              <a:solidFill>
                <a:schemeClr val="tx2"/>
              </a:solidFill>
            </a:endParaRPr>
          </a:p>
        </p:txBody>
      </p:sp>
      <p:sp>
        <p:nvSpPr>
          <p:cNvPr id="15" name="ee4pHeader2"/>
          <p:cNvSpPr txBox="1"/>
          <p:nvPr/>
        </p:nvSpPr>
        <p:spPr>
          <a:xfrm>
            <a:off x="4533030" y="2310506"/>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Data collection</a:t>
            </a:r>
            <a:r>
              <a:rPr lang="en-US" sz="2400" dirty="0">
                <a:solidFill>
                  <a:schemeClr val="tx2"/>
                </a:solidFill>
              </a:rPr>
              <a:t> </a:t>
            </a:r>
            <a:r>
              <a:rPr lang="en-US" sz="2400" dirty="0" smtClean="0">
                <a:solidFill>
                  <a:schemeClr val="tx2"/>
                </a:solidFill>
              </a:rPr>
              <a:t>and analysis</a:t>
            </a:r>
            <a:endParaRPr lang="en-US" sz="2400" dirty="0">
              <a:solidFill>
                <a:schemeClr val="tx2"/>
              </a:solidFill>
            </a:endParaRPr>
          </a:p>
        </p:txBody>
      </p:sp>
      <p:sp>
        <p:nvSpPr>
          <p:cNvPr id="13" name="ee4pHeader3"/>
          <p:cNvSpPr txBox="1"/>
          <p:nvPr/>
        </p:nvSpPr>
        <p:spPr>
          <a:xfrm>
            <a:off x="8437258" y="2310506"/>
            <a:ext cx="3125941"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Experiments, modeling, and results</a:t>
            </a:r>
            <a:endParaRPr lang="en-US" sz="2400" dirty="0">
              <a:solidFill>
                <a:schemeClr val="tx2"/>
              </a:solidFill>
            </a:endParaRPr>
          </a:p>
        </p:txBody>
      </p:sp>
      <p:sp>
        <p:nvSpPr>
          <p:cNvPr id="3" name="Title 2"/>
          <p:cNvSpPr>
            <a:spLocks noGrp="1"/>
          </p:cNvSpPr>
          <p:nvPr>
            <p:ph type="title"/>
          </p:nvPr>
        </p:nvSpPr>
        <p:spPr>
          <a:xfrm>
            <a:off x="630000" y="622800"/>
            <a:ext cx="10933200" cy="941796"/>
          </a:xfrm>
        </p:spPr>
        <p:txBody>
          <a:bodyPr/>
          <a:lstStyle/>
          <a:p>
            <a:r>
              <a:rPr lang="en-US" dirty="0" smtClean="0"/>
              <a:t>Successful data science initiatives integrate three key functional areas: technology, data, and modeling</a:t>
            </a:r>
            <a:endParaRPr lang="en-US" dirty="0"/>
          </a:p>
        </p:txBody>
      </p:sp>
      <p:grpSp>
        <p:nvGrpSpPr>
          <p:cNvPr id="14" name="Group 13"/>
          <p:cNvGrpSpPr/>
          <p:nvPr/>
        </p:nvGrpSpPr>
        <p:grpSpPr>
          <a:xfrm rot="5400000">
            <a:off x="5942913" y="2925677"/>
            <a:ext cx="306171" cy="4079081"/>
            <a:chOff x="5942914" y="2081213"/>
            <a:chExt cx="306171" cy="4079081"/>
          </a:xfrm>
        </p:grpSpPr>
        <p:cxnSp>
          <p:nvCxnSpPr>
            <p:cNvPr id="16" name="Straight Connector 15"/>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5942914" y="3967299"/>
              <a:ext cx="306171" cy="306910"/>
              <a:chOff x="5937564" y="3833745"/>
              <a:chExt cx="306171" cy="306910"/>
            </a:xfrm>
          </p:grpSpPr>
          <p:sp>
            <p:nvSpPr>
              <p:cNvPr id="19"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0"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 name="Rectangle 3"/>
          <p:cNvSpPr/>
          <p:nvPr/>
        </p:nvSpPr>
        <p:spPr>
          <a:xfrm>
            <a:off x="2573958" y="5382705"/>
            <a:ext cx="7044080" cy="857839"/>
          </a:xfrm>
          <a:prstGeom prst="rect">
            <a:avLst/>
          </a:prstGeom>
          <a:solidFill>
            <a:srgbClr val="FFFFFF"/>
          </a:solidFill>
          <a:ln w="254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smtClean="0">
                <a:solidFill>
                  <a:srgbClr val="575757"/>
                </a:solidFill>
              </a:rPr>
              <a:t>There is a tendency for data professionals to focus on modeling at the expense of data collection or technology infrastructure – this can be one of the major failure points in analytics projects</a:t>
            </a: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21" name="NavigationIcon"/>
          <p:cNvGrpSpPr>
            <a:grpSpLocks noChangeAspect="1"/>
          </p:cNvGrpSpPr>
          <p:nvPr/>
        </p:nvGrpSpPr>
        <p:grpSpPr>
          <a:xfrm>
            <a:off x="11691131" y="132877"/>
            <a:ext cx="364586" cy="365760"/>
            <a:chOff x="5445632" y="2775204"/>
            <a:chExt cx="1301877" cy="1306068"/>
          </a:xfrm>
        </p:grpSpPr>
        <p:sp>
          <p:nvSpPr>
            <p:cNvPr id="22"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23"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1"/>
    </p:custDataLst>
    <p:extLst>
      <p:ext uri="{BB962C8B-B14F-4D97-AF65-F5344CB8AC3E}">
        <p14:creationId xmlns:p14="http://schemas.microsoft.com/office/powerpoint/2010/main" val="3056178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3"/>
            </p:custDataLst>
            <p:extLst>
              <p:ext uri="{D42A27DB-BD31-4B8C-83A1-F6EECF244321}">
                <p14:modId xmlns:p14="http://schemas.microsoft.com/office/powerpoint/2010/main" val="1791240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60" name="think-cell Slide" r:id="rId12" imgW="415" imgH="416" progId="TCLayout.ActiveDocument.1">
                  <p:embed/>
                </p:oleObj>
              </mc:Choice>
              <mc:Fallback>
                <p:oleObj name="think-cell Slide" r:id="rId12" imgW="415" imgH="416"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cxnSp>
        <p:nvCxnSpPr>
          <p:cNvPr id="28" name="Elbow Connector 27"/>
          <p:cNvCxnSpPr>
            <a:stCxn id="6" idx="0"/>
            <a:endCxn id="14" idx="3"/>
          </p:cNvCxnSpPr>
          <p:nvPr/>
        </p:nvCxnSpPr>
        <p:spPr>
          <a:xfrm rot="10800000">
            <a:off x="3808428" y="2960550"/>
            <a:ext cx="746724" cy="226815"/>
          </a:xfrm>
          <a:prstGeom prst="bentConnector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7" idx="2"/>
            <a:endCxn id="16" idx="3"/>
          </p:cNvCxnSpPr>
          <p:nvPr/>
        </p:nvCxnSpPr>
        <p:spPr>
          <a:xfrm rot="5400000" flipH="1">
            <a:off x="4801026" y="4311263"/>
            <a:ext cx="276999" cy="2312956"/>
          </a:xfrm>
          <a:prstGeom prst="bentConnector4">
            <a:avLst>
              <a:gd name="adj1" fmla="val -82527"/>
              <a:gd name="adj2" fmla="val 68539"/>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5" idx="0"/>
            <a:endCxn id="15" idx="1"/>
          </p:cNvCxnSpPr>
          <p:nvPr/>
        </p:nvCxnSpPr>
        <p:spPr>
          <a:xfrm>
            <a:off x="7758569" y="3178537"/>
            <a:ext cx="754133" cy="708362"/>
          </a:xfrm>
          <a:prstGeom prst="bentConnector3">
            <a:avLst>
              <a:gd name="adj1" fmla="val 65316"/>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4056000" y="1778000"/>
            <a:ext cx="4080000" cy="4081463"/>
            <a:chOff x="4056000" y="1778000"/>
            <a:chExt cx="4080000" cy="4081463"/>
          </a:xfrm>
        </p:grpSpPr>
        <p:sp>
          <p:nvSpPr>
            <p:cNvPr id="2" name="CircleSegment"/>
            <p:cNvSpPr>
              <a:spLocks/>
            </p:cNvSpPr>
            <p:nvPr>
              <p:custDataLst>
                <p:tags r:id="rId4"/>
              </p:custDataLst>
            </p:nvPr>
          </p:nvSpPr>
          <p:spPr bwMode="gray">
            <a:xfrm>
              <a:off x="6096793" y="1778000"/>
              <a:ext cx="2039207" cy="3062288"/>
            </a:xfrm>
            <a:custGeom>
              <a:avLst/>
              <a:gdLst>
                <a:gd name="T0" fmla="*/ 0 w 1292"/>
                <a:gd name="T1" fmla="*/ 0 h 1938"/>
                <a:gd name="T2" fmla="*/ 2147483647 w 1292"/>
                <a:gd name="T3" fmla="*/ 2147483647 h 1938"/>
                <a:gd name="T4" fmla="*/ 2147483647 w 1292"/>
                <a:gd name="T5" fmla="*/ 2147483647 h 1938"/>
                <a:gd name="T6" fmla="*/ 2147483647 w 1292"/>
                <a:gd name="T7" fmla="*/ 2147483647 h 1938"/>
                <a:gd name="T8" fmla="*/ 2147483647 w 1292"/>
                <a:gd name="T9" fmla="*/ 2147483647 h 1938"/>
                <a:gd name="T10" fmla="*/ 2147483647 w 1292"/>
                <a:gd name="T11" fmla="*/ 2147483647 h 1938"/>
                <a:gd name="T12" fmla="*/ 2147483647 w 1292"/>
                <a:gd name="T13" fmla="*/ 2147483647 h 1938"/>
                <a:gd name="T14" fmla="*/ 2147483647 w 1292"/>
                <a:gd name="T15" fmla="*/ 2147483647 h 1938"/>
                <a:gd name="T16" fmla="*/ 2147483647 w 1292"/>
                <a:gd name="T17" fmla="*/ 2147483647 h 1938"/>
                <a:gd name="T18" fmla="*/ 2147483647 w 1292"/>
                <a:gd name="T19" fmla="*/ 2147483647 h 1938"/>
                <a:gd name="T20" fmla="*/ 2147483647 w 1292"/>
                <a:gd name="T21" fmla="*/ 2147483647 h 1938"/>
                <a:gd name="T22" fmla="*/ 2147483647 w 1292"/>
                <a:gd name="T23" fmla="*/ 2147483647 h 1938"/>
                <a:gd name="T24" fmla="*/ 2147483647 w 1292"/>
                <a:gd name="T25" fmla="*/ 2147483647 h 1938"/>
                <a:gd name="T26" fmla="*/ 2147483647 w 1292"/>
                <a:gd name="T27" fmla="*/ 2147483647 h 1938"/>
                <a:gd name="T28" fmla="*/ 2147483647 w 1292"/>
                <a:gd name="T29" fmla="*/ 2147483647 h 1938"/>
                <a:gd name="T30" fmla="*/ 2147483647 w 1292"/>
                <a:gd name="T31" fmla="*/ 2147483647 h 1938"/>
                <a:gd name="T32" fmla="*/ 2147483647 w 1292"/>
                <a:gd name="T33" fmla="*/ 2147483647 h 1938"/>
                <a:gd name="T34" fmla="*/ 2147483647 w 1292"/>
                <a:gd name="T35" fmla="*/ 2147483647 h 1938"/>
                <a:gd name="T36" fmla="*/ 2147483647 w 1292"/>
                <a:gd name="T37" fmla="*/ 2147483647 h 1938"/>
                <a:gd name="T38" fmla="*/ 2147483647 w 1292"/>
                <a:gd name="T39" fmla="*/ 2147483647 h 1938"/>
                <a:gd name="T40" fmla="*/ 2147483647 w 1292"/>
                <a:gd name="T41" fmla="*/ 2147483647 h 1938"/>
                <a:gd name="T42" fmla="*/ 2147483647 w 1292"/>
                <a:gd name="T43" fmla="*/ 2147483647 h 1938"/>
                <a:gd name="T44" fmla="*/ 2147483647 w 1292"/>
                <a:gd name="T45" fmla="*/ 2147483647 h 1938"/>
                <a:gd name="T46" fmla="*/ 2147483647 w 1292"/>
                <a:gd name="T47" fmla="*/ 2147483647 h 1938"/>
                <a:gd name="T48" fmla="*/ 2147483647 w 1292"/>
                <a:gd name="T49" fmla="*/ 2147483647 h 1938"/>
                <a:gd name="T50" fmla="*/ 2147483647 w 1292"/>
                <a:gd name="T51" fmla="*/ 2147483647 h 1938"/>
                <a:gd name="T52" fmla="*/ 2147483647 w 1292"/>
                <a:gd name="T53" fmla="*/ 2147483647 h 1938"/>
                <a:gd name="T54" fmla="*/ 2147483647 w 1292"/>
                <a:gd name="T55" fmla="*/ 2147483647 h 1938"/>
                <a:gd name="T56" fmla="*/ 2147483647 w 1292"/>
                <a:gd name="T57" fmla="*/ 2147483647 h 1938"/>
                <a:gd name="T58" fmla="*/ 2147483647 w 1292"/>
                <a:gd name="T59" fmla="*/ 2147483647 h 1938"/>
                <a:gd name="T60" fmla="*/ 2147483647 w 1292"/>
                <a:gd name="T61" fmla="*/ 2147483647 h 1938"/>
                <a:gd name="T62" fmla="*/ 2147483647 w 1292"/>
                <a:gd name="T63" fmla="*/ 2147483647 h 1938"/>
                <a:gd name="T64" fmla="*/ 2147483647 w 1292"/>
                <a:gd name="T65" fmla="*/ 2147483647 h 1938"/>
                <a:gd name="T66" fmla="*/ 2147483647 w 1292"/>
                <a:gd name="T67" fmla="*/ 2147483647 h 1938"/>
                <a:gd name="T68" fmla="*/ 2147483647 w 1292"/>
                <a:gd name="T69" fmla="*/ 2147483647 h 1938"/>
                <a:gd name="T70" fmla="*/ 2147483647 w 1292"/>
                <a:gd name="T71" fmla="*/ 2147483647 h 1938"/>
                <a:gd name="T72" fmla="*/ 2147483647 w 1292"/>
                <a:gd name="T73" fmla="*/ 2147483647 h 1938"/>
                <a:gd name="T74" fmla="*/ 2147483647 w 1292"/>
                <a:gd name="T75" fmla="*/ 2147483647 h 1938"/>
                <a:gd name="T76" fmla="*/ 2147483647 w 1292"/>
                <a:gd name="T77" fmla="*/ 2147483647 h 1938"/>
                <a:gd name="T78" fmla="*/ 2147483647 w 1292"/>
                <a:gd name="T79" fmla="*/ 2147483647 h 1938"/>
                <a:gd name="T80" fmla="*/ 2147483647 w 1292"/>
                <a:gd name="T81" fmla="*/ 2147483647 h 1938"/>
                <a:gd name="T82" fmla="*/ 2147483647 w 1292"/>
                <a:gd name="T83" fmla="*/ 2147483647 h 1938"/>
                <a:gd name="T84" fmla="*/ 2147483647 w 1292"/>
                <a:gd name="T85" fmla="*/ 2147483647 h 1938"/>
                <a:gd name="T86" fmla="*/ 2147483647 w 1292"/>
                <a:gd name="T87" fmla="*/ 2147483647 h 1938"/>
                <a:gd name="T88" fmla="*/ 2147483647 w 1292"/>
                <a:gd name="T89" fmla="*/ 2147483647 h 1938"/>
                <a:gd name="T90" fmla="*/ 2147483647 w 1292"/>
                <a:gd name="T91" fmla="*/ 2147483647 h 1938"/>
                <a:gd name="T92" fmla="*/ 2147483647 w 1292"/>
                <a:gd name="T93" fmla="*/ 2147483647 h 1938"/>
                <a:gd name="T94" fmla="*/ 2147483647 w 1292"/>
                <a:gd name="T95" fmla="*/ 2147483647 h 1938"/>
                <a:gd name="T96" fmla="*/ 2147483647 w 1292"/>
                <a:gd name="T97" fmla="*/ 2147483647 h 1938"/>
                <a:gd name="T98" fmla="*/ 2147483647 w 1292"/>
                <a:gd name="T99" fmla="*/ 2147483647 h 1938"/>
                <a:gd name="T100" fmla="*/ 2147483647 w 1292"/>
                <a:gd name="T101" fmla="*/ 2147483647 h 1938"/>
                <a:gd name="T102" fmla="*/ 2147483647 w 1292"/>
                <a:gd name="T103" fmla="*/ 2147483647 h 1938"/>
                <a:gd name="T104" fmla="*/ 0 w 1292"/>
                <a:gd name="T105" fmla="*/ 2147483647 h 1938"/>
                <a:gd name="T106" fmla="*/ 2147483647 w 1292"/>
                <a:gd name="T107" fmla="*/ 2147483647 h 1938"/>
                <a:gd name="T108" fmla="*/ 2147483647 w 1292"/>
                <a:gd name="T109" fmla="*/ 2147483647 h 19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2"/>
                <a:gd name="T166" fmla="*/ 0 h 1938"/>
                <a:gd name="T167" fmla="*/ 1292 w 1292"/>
                <a:gd name="T168" fmla="*/ 1938 h 19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2" h="1938">
                  <a:moveTo>
                    <a:pt x="0" y="0"/>
                  </a:moveTo>
                  <a:lnTo>
                    <a:pt x="0" y="0"/>
                  </a:lnTo>
                  <a:lnTo>
                    <a:pt x="67" y="2"/>
                  </a:lnTo>
                  <a:lnTo>
                    <a:pt x="132" y="6"/>
                  </a:lnTo>
                  <a:lnTo>
                    <a:pt x="197" y="16"/>
                  </a:lnTo>
                  <a:lnTo>
                    <a:pt x="261" y="27"/>
                  </a:lnTo>
                  <a:lnTo>
                    <a:pt x="322" y="41"/>
                  </a:lnTo>
                  <a:lnTo>
                    <a:pt x="384" y="58"/>
                  </a:lnTo>
                  <a:lnTo>
                    <a:pt x="443" y="79"/>
                  </a:lnTo>
                  <a:lnTo>
                    <a:pt x="503" y="102"/>
                  </a:lnTo>
                  <a:lnTo>
                    <a:pt x="560" y="129"/>
                  </a:lnTo>
                  <a:lnTo>
                    <a:pt x="616" y="156"/>
                  </a:lnTo>
                  <a:lnTo>
                    <a:pt x="670" y="188"/>
                  </a:lnTo>
                  <a:lnTo>
                    <a:pt x="722" y="221"/>
                  </a:lnTo>
                  <a:lnTo>
                    <a:pt x="772" y="257"/>
                  </a:lnTo>
                  <a:lnTo>
                    <a:pt x="822" y="296"/>
                  </a:lnTo>
                  <a:lnTo>
                    <a:pt x="868" y="336"/>
                  </a:lnTo>
                  <a:lnTo>
                    <a:pt x="914" y="380"/>
                  </a:lnTo>
                  <a:lnTo>
                    <a:pt x="956" y="424"/>
                  </a:lnTo>
                  <a:lnTo>
                    <a:pt x="997" y="472"/>
                  </a:lnTo>
                  <a:lnTo>
                    <a:pt x="1035" y="520"/>
                  </a:lnTo>
                  <a:lnTo>
                    <a:pt x="1071" y="570"/>
                  </a:lnTo>
                  <a:lnTo>
                    <a:pt x="1104" y="624"/>
                  </a:lnTo>
                  <a:lnTo>
                    <a:pt x="1137" y="678"/>
                  </a:lnTo>
                  <a:lnTo>
                    <a:pt x="1166" y="733"/>
                  </a:lnTo>
                  <a:lnTo>
                    <a:pt x="1191" y="791"/>
                  </a:lnTo>
                  <a:lnTo>
                    <a:pt x="1214" y="848"/>
                  </a:lnTo>
                  <a:lnTo>
                    <a:pt x="1235" y="910"/>
                  </a:lnTo>
                  <a:lnTo>
                    <a:pt x="1252" y="969"/>
                  </a:lnTo>
                  <a:lnTo>
                    <a:pt x="1265" y="1032"/>
                  </a:lnTo>
                  <a:lnTo>
                    <a:pt x="1277" y="1096"/>
                  </a:lnTo>
                  <a:lnTo>
                    <a:pt x="1287" y="1161"/>
                  </a:lnTo>
                  <a:lnTo>
                    <a:pt x="1290" y="1226"/>
                  </a:lnTo>
                  <a:lnTo>
                    <a:pt x="1292" y="1291"/>
                  </a:lnTo>
                  <a:lnTo>
                    <a:pt x="1292" y="1336"/>
                  </a:lnTo>
                  <a:lnTo>
                    <a:pt x="1290" y="1380"/>
                  </a:lnTo>
                  <a:lnTo>
                    <a:pt x="1287" y="1422"/>
                  </a:lnTo>
                  <a:lnTo>
                    <a:pt x="1281" y="1466"/>
                  </a:lnTo>
                  <a:lnTo>
                    <a:pt x="1275" y="1508"/>
                  </a:lnTo>
                  <a:lnTo>
                    <a:pt x="1267" y="1548"/>
                  </a:lnTo>
                  <a:lnTo>
                    <a:pt x="1258" y="1591"/>
                  </a:lnTo>
                  <a:lnTo>
                    <a:pt x="1246" y="1631"/>
                  </a:lnTo>
                  <a:lnTo>
                    <a:pt x="1235" y="1671"/>
                  </a:lnTo>
                  <a:lnTo>
                    <a:pt x="1223" y="1712"/>
                  </a:lnTo>
                  <a:lnTo>
                    <a:pt x="1208" y="1750"/>
                  </a:lnTo>
                  <a:lnTo>
                    <a:pt x="1192" y="1788"/>
                  </a:lnTo>
                  <a:lnTo>
                    <a:pt x="1175" y="1827"/>
                  </a:lnTo>
                  <a:lnTo>
                    <a:pt x="1158" y="1865"/>
                  </a:lnTo>
                  <a:lnTo>
                    <a:pt x="1139" y="1901"/>
                  </a:lnTo>
                  <a:lnTo>
                    <a:pt x="1119" y="1938"/>
                  </a:lnTo>
                  <a:lnTo>
                    <a:pt x="1118" y="1938"/>
                  </a:lnTo>
                  <a:lnTo>
                    <a:pt x="945" y="1911"/>
                  </a:lnTo>
                  <a:lnTo>
                    <a:pt x="772" y="1886"/>
                  </a:lnTo>
                  <a:lnTo>
                    <a:pt x="662" y="1748"/>
                  </a:lnTo>
                  <a:lnTo>
                    <a:pt x="553" y="1612"/>
                  </a:lnTo>
                  <a:lnTo>
                    <a:pt x="551" y="1610"/>
                  </a:lnTo>
                  <a:lnTo>
                    <a:pt x="553" y="1610"/>
                  </a:lnTo>
                  <a:lnTo>
                    <a:pt x="572" y="1575"/>
                  </a:lnTo>
                  <a:lnTo>
                    <a:pt x="589" y="1537"/>
                  </a:lnTo>
                  <a:lnTo>
                    <a:pt x="605" y="1499"/>
                  </a:lnTo>
                  <a:lnTo>
                    <a:pt x="616" y="1460"/>
                  </a:lnTo>
                  <a:lnTo>
                    <a:pt x="626" y="1420"/>
                  </a:lnTo>
                  <a:lnTo>
                    <a:pt x="633" y="1378"/>
                  </a:lnTo>
                  <a:lnTo>
                    <a:pt x="637" y="1336"/>
                  </a:lnTo>
                  <a:lnTo>
                    <a:pt x="639" y="1291"/>
                  </a:lnTo>
                  <a:lnTo>
                    <a:pt x="637" y="1259"/>
                  </a:lnTo>
                  <a:lnTo>
                    <a:pt x="635" y="1226"/>
                  </a:lnTo>
                  <a:lnTo>
                    <a:pt x="632" y="1196"/>
                  </a:lnTo>
                  <a:lnTo>
                    <a:pt x="626" y="1163"/>
                  </a:lnTo>
                  <a:lnTo>
                    <a:pt x="618" y="1132"/>
                  </a:lnTo>
                  <a:lnTo>
                    <a:pt x="610" y="1103"/>
                  </a:lnTo>
                  <a:lnTo>
                    <a:pt x="599" y="1073"/>
                  </a:lnTo>
                  <a:lnTo>
                    <a:pt x="587" y="1044"/>
                  </a:lnTo>
                  <a:lnTo>
                    <a:pt x="576" y="1015"/>
                  </a:lnTo>
                  <a:lnTo>
                    <a:pt x="560" y="988"/>
                  </a:lnTo>
                  <a:lnTo>
                    <a:pt x="545" y="961"/>
                  </a:lnTo>
                  <a:lnTo>
                    <a:pt x="530" y="935"/>
                  </a:lnTo>
                  <a:lnTo>
                    <a:pt x="512" y="910"/>
                  </a:lnTo>
                  <a:lnTo>
                    <a:pt x="493" y="887"/>
                  </a:lnTo>
                  <a:lnTo>
                    <a:pt x="472" y="864"/>
                  </a:lnTo>
                  <a:lnTo>
                    <a:pt x="451" y="841"/>
                  </a:lnTo>
                  <a:lnTo>
                    <a:pt x="430" y="820"/>
                  </a:lnTo>
                  <a:lnTo>
                    <a:pt x="407" y="800"/>
                  </a:lnTo>
                  <a:lnTo>
                    <a:pt x="382" y="781"/>
                  </a:lnTo>
                  <a:lnTo>
                    <a:pt x="357" y="762"/>
                  </a:lnTo>
                  <a:lnTo>
                    <a:pt x="330" y="747"/>
                  </a:lnTo>
                  <a:lnTo>
                    <a:pt x="305" y="731"/>
                  </a:lnTo>
                  <a:lnTo>
                    <a:pt x="276" y="716"/>
                  </a:lnTo>
                  <a:lnTo>
                    <a:pt x="247" y="704"/>
                  </a:lnTo>
                  <a:lnTo>
                    <a:pt x="219" y="693"/>
                  </a:lnTo>
                  <a:lnTo>
                    <a:pt x="190" y="681"/>
                  </a:lnTo>
                  <a:lnTo>
                    <a:pt x="159" y="674"/>
                  </a:lnTo>
                  <a:lnTo>
                    <a:pt x="128" y="666"/>
                  </a:lnTo>
                  <a:lnTo>
                    <a:pt x="97" y="660"/>
                  </a:lnTo>
                  <a:lnTo>
                    <a:pt x="65" y="656"/>
                  </a:lnTo>
                  <a:lnTo>
                    <a:pt x="32" y="655"/>
                  </a:lnTo>
                  <a:lnTo>
                    <a:pt x="0" y="653"/>
                  </a:lnTo>
                  <a:lnTo>
                    <a:pt x="65" y="492"/>
                  </a:lnTo>
                  <a:lnTo>
                    <a:pt x="128" y="327"/>
                  </a:lnTo>
                  <a:lnTo>
                    <a:pt x="65" y="163"/>
                  </a:lnTo>
                  <a:lnTo>
                    <a:pt x="0" y="0"/>
                  </a:lnTo>
                </a:path>
              </a:pathLst>
            </a:custGeom>
            <a:solidFill>
              <a:schemeClr val="tx2"/>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3" name="CircleSegment"/>
            <p:cNvSpPr>
              <a:spLocks/>
            </p:cNvSpPr>
            <p:nvPr>
              <p:custDataLst>
                <p:tags r:id="rId5"/>
              </p:custDataLst>
            </p:nvPr>
          </p:nvSpPr>
          <p:spPr bwMode="gray">
            <a:xfrm>
              <a:off x="4056000" y="1778000"/>
              <a:ext cx="2242333" cy="3062288"/>
            </a:xfrm>
            <a:custGeom>
              <a:avLst/>
              <a:gdLst>
                <a:gd name="T0" fmla="*/ 2147483647 w 1421"/>
                <a:gd name="T1" fmla="*/ 2147483647 h 1938"/>
                <a:gd name="T2" fmla="*/ 2147483647 w 1421"/>
                <a:gd name="T3" fmla="*/ 2147483647 h 1938"/>
                <a:gd name="T4" fmla="*/ 2147483647 w 1421"/>
                <a:gd name="T5" fmla="*/ 2147483647 h 1938"/>
                <a:gd name="T6" fmla="*/ 2147483647 w 1421"/>
                <a:gd name="T7" fmla="*/ 2147483647 h 1938"/>
                <a:gd name="T8" fmla="*/ 2147483647 w 1421"/>
                <a:gd name="T9" fmla="*/ 2147483647 h 1938"/>
                <a:gd name="T10" fmla="*/ 2147483647 w 1421"/>
                <a:gd name="T11" fmla="*/ 2147483647 h 1938"/>
                <a:gd name="T12" fmla="*/ 0 w 1421"/>
                <a:gd name="T13" fmla="*/ 2147483647 h 1938"/>
                <a:gd name="T14" fmla="*/ 2147483647 w 1421"/>
                <a:gd name="T15" fmla="*/ 2147483647 h 1938"/>
                <a:gd name="T16" fmla="*/ 2147483647 w 1421"/>
                <a:gd name="T17" fmla="*/ 2147483647 h 1938"/>
                <a:gd name="T18" fmla="*/ 2147483647 w 1421"/>
                <a:gd name="T19" fmla="*/ 2147483647 h 1938"/>
                <a:gd name="T20" fmla="*/ 2147483647 w 1421"/>
                <a:gd name="T21" fmla="*/ 2147483647 h 1938"/>
                <a:gd name="T22" fmla="*/ 2147483647 w 1421"/>
                <a:gd name="T23" fmla="*/ 2147483647 h 1938"/>
                <a:gd name="T24" fmla="*/ 2147483647 w 1421"/>
                <a:gd name="T25" fmla="*/ 2147483647 h 1938"/>
                <a:gd name="T26" fmla="*/ 2147483647 w 1421"/>
                <a:gd name="T27" fmla="*/ 2147483647 h 1938"/>
                <a:gd name="T28" fmla="*/ 2147483647 w 1421"/>
                <a:gd name="T29" fmla="*/ 2147483647 h 1938"/>
                <a:gd name="T30" fmla="*/ 2147483647 w 1421"/>
                <a:gd name="T31" fmla="*/ 2147483647 h 1938"/>
                <a:gd name="T32" fmla="*/ 2147483647 w 1421"/>
                <a:gd name="T33" fmla="*/ 2147483647 h 1938"/>
                <a:gd name="T34" fmla="*/ 2147483647 w 1421"/>
                <a:gd name="T35" fmla="*/ 2147483647 h 1938"/>
                <a:gd name="T36" fmla="*/ 2147483647 w 1421"/>
                <a:gd name="T37" fmla="*/ 2147483647 h 1938"/>
                <a:gd name="T38" fmla="*/ 2147483647 w 1421"/>
                <a:gd name="T39" fmla="*/ 2147483647 h 1938"/>
                <a:gd name="T40" fmla="*/ 2147483647 w 1421"/>
                <a:gd name="T41" fmla="*/ 2147483647 h 1938"/>
                <a:gd name="T42" fmla="*/ 2147483647 w 1421"/>
                <a:gd name="T43" fmla="*/ 2147483647 h 1938"/>
                <a:gd name="T44" fmla="*/ 2147483647 w 1421"/>
                <a:gd name="T45" fmla="*/ 2147483647 h 1938"/>
                <a:gd name="T46" fmla="*/ 2147483647 w 1421"/>
                <a:gd name="T47" fmla="*/ 2147483647 h 1938"/>
                <a:gd name="T48" fmla="*/ 2147483647 w 1421"/>
                <a:gd name="T49" fmla="*/ 2147483647 h 1938"/>
                <a:gd name="T50" fmla="*/ 2147483647 w 1421"/>
                <a:gd name="T51" fmla="*/ 0 h 1938"/>
                <a:gd name="T52" fmla="*/ 2147483647 w 1421"/>
                <a:gd name="T53" fmla="*/ 0 h 1938"/>
                <a:gd name="T54" fmla="*/ 2147483647 w 1421"/>
                <a:gd name="T55" fmla="*/ 2147483647 h 1938"/>
                <a:gd name="T56" fmla="*/ 2147483647 w 1421"/>
                <a:gd name="T57" fmla="*/ 2147483647 h 1938"/>
                <a:gd name="T58" fmla="*/ 2147483647 w 1421"/>
                <a:gd name="T59" fmla="*/ 2147483647 h 1938"/>
                <a:gd name="T60" fmla="*/ 2147483647 w 1421"/>
                <a:gd name="T61" fmla="*/ 2147483647 h 1938"/>
                <a:gd name="T62" fmla="*/ 2147483647 w 1421"/>
                <a:gd name="T63" fmla="*/ 2147483647 h 1938"/>
                <a:gd name="T64" fmla="*/ 2147483647 w 1421"/>
                <a:gd name="T65" fmla="*/ 2147483647 h 1938"/>
                <a:gd name="T66" fmla="*/ 2147483647 w 1421"/>
                <a:gd name="T67" fmla="*/ 2147483647 h 1938"/>
                <a:gd name="T68" fmla="*/ 2147483647 w 1421"/>
                <a:gd name="T69" fmla="*/ 2147483647 h 1938"/>
                <a:gd name="T70" fmla="*/ 2147483647 w 1421"/>
                <a:gd name="T71" fmla="*/ 2147483647 h 1938"/>
                <a:gd name="T72" fmla="*/ 2147483647 w 1421"/>
                <a:gd name="T73" fmla="*/ 2147483647 h 1938"/>
                <a:gd name="T74" fmla="*/ 2147483647 w 1421"/>
                <a:gd name="T75" fmla="*/ 2147483647 h 1938"/>
                <a:gd name="T76" fmla="*/ 2147483647 w 1421"/>
                <a:gd name="T77" fmla="*/ 2147483647 h 1938"/>
                <a:gd name="T78" fmla="*/ 2147483647 w 1421"/>
                <a:gd name="T79" fmla="*/ 2147483647 h 1938"/>
                <a:gd name="T80" fmla="*/ 2147483647 w 1421"/>
                <a:gd name="T81" fmla="*/ 2147483647 h 1938"/>
                <a:gd name="T82" fmla="*/ 2147483647 w 1421"/>
                <a:gd name="T83" fmla="*/ 2147483647 h 1938"/>
                <a:gd name="T84" fmla="*/ 2147483647 w 1421"/>
                <a:gd name="T85" fmla="*/ 2147483647 h 1938"/>
                <a:gd name="T86" fmla="*/ 2147483647 w 1421"/>
                <a:gd name="T87" fmla="*/ 2147483647 h 1938"/>
                <a:gd name="T88" fmla="*/ 2147483647 w 1421"/>
                <a:gd name="T89" fmla="*/ 2147483647 h 1938"/>
                <a:gd name="T90" fmla="*/ 2147483647 w 1421"/>
                <a:gd name="T91" fmla="*/ 2147483647 h 1938"/>
                <a:gd name="T92" fmla="*/ 2147483647 w 1421"/>
                <a:gd name="T93" fmla="*/ 2147483647 h 1938"/>
                <a:gd name="T94" fmla="*/ 2147483647 w 1421"/>
                <a:gd name="T95" fmla="*/ 2147483647 h 1938"/>
                <a:gd name="T96" fmla="*/ 2147483647 w 1421"/>
                <a:gd name="T97" fmla="*/ 2147483647 h 1938"/>
                <a:gd name="T98" fmla="*/ 2147483647 w 1421"/>
                <a:gd name="T99" fmla="*/ 2147483647 h 1938"/>
                <a:gd name="T100" fmla="*/ 2147483647 w 1421"/>
                <a:gd name="T101" fmla="*/ 2147483647 h 1938"/>
                <a:gd name="T102" fmla="*/ 2147483647 w 1421"/>
                <a:gd name="T103" fmla="*/ 2147483647 h 1938"/>
                <a:gd name="T104" fmla="*/ 2147483647 w 1421"/>
                <a:gd name="T105" fmla="*/ 2147483647 h 1938"/>
                <a:gd name="T106" fmla="*/ 2147483647 w 1421"/>
                <a:gd name="T107" fmla="*/ 2147483647 h 1938"/>
                <a:gd name="T108" fmla="*/ 2147483647 w 1421"/>
                <a:gd name="T109" fmla="*/ 2147483647 h 19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21"/>
                <a:gd name="T166" fmla="*/ 0 h 1938"/>
                <a:gd name="T167" fmla="*/ 1421 w 1421"/>
                <a:gd name="T168" fmla="*/ 1938 h 19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21" h="1938">
                  <a:moveTo>
                    <a:pt x="171" y="1938"/>
                  </a:moveTo>
                  <a:lnTo>
                    <a:pt x="171" y="1938"/>
                  </a:lnTo>
                  <a:lnTo>
                    <a:pt x="140" y="1878"/>
                  </a:lnTo>
                  <a:lnTo>
                    <a:pt x="111" y="1819"/>
                  </a:lnTo>
                  <a:lnTo>
                    <a:pt x="86" y="1759"/>
                  </a:lnTo>
                  <a:lnTo>
                    <a:pt x="65" y="1700"/>
                  </a:lnTo>
                  <a:lnTo>
                    <a:pt x="46" y="1639"/>
                  </a:lnTo>
                  <a:lnTo>
                    <a:pt x="30" y="1575"/>
                  </a:lnTo>
                  <a:lnTo>
                    <a:pt x="17" y="1514"/>
                  </a:lnTo>
                  <a:lnTo>
                    <a:pt x="9" y="1453"/>
                  </a:lnTo>
                  <a:lnTo>
                    <a:pt x="3" y="1389"/>
                  </a:lnTo>
                  <a:lnTo>
                    <a:pt x="0" y="1326"/>
                  </a:lnTo>
                  <a:lnTo>
                    <a:pt x="0" y="1265"/>
                  </a:lnTo>
                  <a:lnTo>
                    <a:pt x="3" y="1201"/>
                  </a:lnTo>
                  <a:lnTo>
                    <a:pt x="9" y="1140"/>
                  </a:lnTo>
                  <a:lnTo>
                    <a:pt x="17" y="1078"/>
                  </a:lnTo>
                  <a:lnTo>
                    <a:pt x="28" y="1017"/>
                  </a:lnTo>
                  <a:lnTo>
                    <a:pt x="44" y="958"/>
                  </a:lnTo>
                  <a:lnTo>
                    <a:pt x="61" y="898"/>
                  </a:lnTo>
                  <a:lnTo>
                    <a:pt x="82" y="839"/>
                  </a:lnTo>
                  <a:lnTo>
                    <a:pt x="105" y="781"/>
                  </a:lnTo>
                  <a:lnTo>
                    <a:pt x="130" y="726"/>
                  </a:lnTo>
                  <a:lnTo>
                    <a:pt x="159" y="670"/>
                  </a:lnTo>
                  <a:lnTo>
                    <a:pt x="190" y="616"/>
                  </a:lnTo>
                  <a:lnTo>
                    <a:pt x="224" y="562"/>
                  </a:lnTo>
                  <a:lnTo>
                    <a:pt x="261" y="513"/>
                  </a:lnTo>
                  <a:lnTo>
                    <a:pt x="301" y="463"/>
                  </a:lnTo>
                  <a:lnTo>
                    <a:pt x="342" y="415"/>
                  </a:lnTo>
                  <a:lnTo>
                    <a:pt x="386" y="369"/>
                  </a:lnTo>
                  <a:lnTo>
                    <a:pt x="434" y="327"/>
                  </a:lnTo>
                  <a:lnTo>
                    <a:pt x="484" y="284"/>
                  </a:lnTo>
                  <a:lnTo>
                    <a:pt x="536" y="244"/>
                  </a:lnTo>
                  <a:lnTo>
                    <a:pt x="589" y="208"/>
                  </a:lnTo>
                  <a:lnTo>
                    <a:pt x="645" y="173"/>
                  </a:lnTo>
                  <a:lnTo>
                    <a:pt x="684" y="152"/>
                  </a:lnTo>
                  <a:lnTo>
                    <a:pt x="722" y="133"/>
                  </a:lnTo>
                  <a:lnTo>
                    <a:pt x="762" y="114"/>
                  </a:lnTo>
                  <a:lnTo>
                    <a:pt x="801" y="96"/>
                  </a:lnTo>
                  <a:lnTo>
                    <a:pt x="841" y="81"/>
                  </a:lnTo>
                  <a:lnTo>
                    <a:pt x="881" y="68"/>
                  </a:lnTo>
                  <a:lnTo>
                    <a:pt x="922" y="54"/>
                  </a:lnTo>
                  <a:lnTo>
                    <a:pt x="962" y="43"/>
                  </a:lnTo>
                  <a:lnTo>
                    <a:pt x="1002" y="33"/>
                  </a:lnTo>
                  <a:lnTo>
                    <a:pt x="1045" y="23"/>
                  </a:lnTo>
                  <a:lnTo>
                    <a:pt x="1085" y="18"/>
                  </a:lnTo>
                  <a:lnTo>
                    <a:pt x="1127" y="12"/>
                  </a:lnTo>
                  <a:lnTo>
                    <a:pt x="1168" y="6"/>
                  </a:lnTo>
                  <a:lnTo>
                    <a:pt x="1208" y="4"/>
                  </a:lnTo>
                  <a:lnTo>
                    <a:pt x="1250" y="2"/>
                  </a:lnTo>
                  <a:lnTo>
                    <a:pt x="1291" y="0"/>
                  </a:lnTo>
                  <a:lnTo>
                    <a:pt x="1293" y="0"/>
                  </a:lnTo>
                  <a:lnTo>
                    <a:pt x="1293" y="2"/>
                  </a:lnTo>
                  <a:lnTo>
                    <a:pt x="1356" y="163"/>
                  </a:lnTo>
                  <a:lnTo>
                    <a:pt x="1421" y="328"/>
                  </a:lnTo>
                  <a:lnTo>
                    <a:pt x="1356" y="492"/>
                  </a:lnTo>
                  <a:lnTo>
                    <a:pt x="1293" y="653"/>
                  </a:lnTo>
                  <a:lnTo>
                    <a:pt x="1293" y="655"/>
                  </a:lnTo>
                  <a:lnTo>
                    <a:pt x="1291" y="655"/>
                  </a:lnTo>
                  <a:lnTo>
                    <a:pt x="1250" y="655"/>
                  </a:lnTo>
                  <a:lnTo>
                    <a:pt x="1210" y="658"/>
                  </a:lnTo>
                  <a:lnTo>
                    <a:pt x="1170" y="666"/>
                  </a:lnTo>
                  <a:lnTo>
                    <a:pt x="1129" y="674"/>
                  </a:lnTo>
                  <a:lnTo>
                    <a:pt x="1089" y="687"/>
                  </a:lnTo>
                  <a:lnTo>
                    <a:pt x="1049" y="701"/>
                  </a:lnTo>
                  <a:lnTo>
                    <a:pt x="1010" y="718"/>
                  </a:lnTo>
                  <a:lnTo>
                    <a:pt x="972" y="739"/>
                  </a:lnTo>
                  <a:lnTo>
                    <a:pt x="945" y="756"/>
                  </a:lnTo>
                  <a:lnTo>
                    <a:pt x="918" y="773"/>
                  </a:lnTo>
                  <a:lnTo>
                    <a:pt x="893" y="795"/>
                  </a:lnTo>
                  <a:lnTo>
                    <a:pt x="868" y="814"/>
                  </a:lnTo>
                  <a:lnTo>
                    <a:pt x="845" y="837"/>
                  </a:lnTo>
                  <a:lnTo>
                    <a:pt x="822" y="858"/>
                  </a:lnTo>
                  <a:lnTo>
                    <a:pt x="803" y="883"/>
                  </a:lnTo>
                  <a:lnTo>
                    <a:pt x="783" y="906"/>
                  </a:lnTo>
                  <a:lnTo>
                    <a:pt x="764" y="931"/>
                  </a:lnTo>
                  <a:lnTo>
                    <a:pt x="747" y="958"/>
                  </a:lnTo>
                  <a:lnTo>
                    <a:pt x="732" y="984"/>
                  </a:lnTo>
                  <a:lnTo>
                    <a:pt x="718" y="1011"/>
                  </a:lnTo>
                  <a:lnTo>
                    <a:pt x="705" y="1040"/>
                  </a:lnTo>
                  <a:lnTo>
                    <a:pt x="693" y="1069"/>
                  </a:lnTo>
                  <a:lnTo>
                    <a:pt x="684" y="1098"/>
                  </a:lnTo>
                  <a:lnTo>
                    <a:pt x="676" y="1126"/>
                  </a:lnTo>
                  <a:lnTo>
                    <a:pt x="668" y="1157"/>
                  </a:lnTo>
                  <a:lnTo>
                    <a:pt x="662" y="1186"/>
                  </a:lnTo>
                  <a:lnTo>
                    <a:pt x="657" y="1217"/>
                  </a:lnTo>
                  <a:lnTo>
                    <a:pt x="655" y="1247"/>
                  </a:lnTo>
                  <a:lnTo>
                    <a:pt x="653" y="1278"/>
                  </a:lnTo>
                  <a:lnTo>
                    <a:pt x="653" y="1309"/>
                  </a:lnTo>
                  <a:lnTo>
                    <a:pt x="655" y="1339"/>
                  </a:lnTo>
                  <a:lnTo>
                    <a:pt x="657" y="1370"/>
                  </a:lnTo>
                  <a:lnTo>
                    <a:pt x="662" y="1401"/>
                  </a:lnTo>
                  <a:lnTo>
                    <a:pt x="668" y="1433"/>
                  </a:lnTo>
                  <a:lnTo>
                    <a:pt x="676" y="1462"/>
                  </a:lnTo>
                  <a:lnTo>
                    <a:pt x="685" y="1493"/>
                  </a:lnTo>
                  <a:lnTo>
                    <a:pt x="695" y="1524"/>
                  </a:lnTo>
                  <a:lnTo>
                    <a:pt x="708" y="1552"/>
                  </a:lnTo>
                  <a:lnTo>
                    <a:pt x="722" y="1583"/>
                  </a:lnTo>
                  <a:lnTo>
                    <a:pt x="737" y="1612"/>
                  </a:lnTo>
                  <a:lnTo>
                    <a:pt x="564" y="1637"/>
                  </a:lnTo>
                  <a:lnTo>
                    <a:pt x="390" y="1664"/>
                  </a:lnTo>
                  <a:lnTo>
                    <a:pt x="280" y="1800"/>
                  </a:lnTo>
                  <a:lnTo>
                    <a:pt x="171" y="1938"/>
                  </a:lnTo>
                  <a:close/>
                </a:path>
              </a:pathLst>
            </a:custGeom>
            <a:solidFill>
              <a:srgbClr val="30C1D7"/>
            </a:solidFill>
            <a:ln w="3175" cap="rnd">
              <a:solidFill>
                <a:schemeClr val="bg1"/>
              </a:solidFill>
              <a:round/>
              <a:headEnd/>
              <a:tailEnd/>
            </a:ln>
          </p:spPr>
          <p:txBody>
            <a:bodyPr lIns="103900" tIns="51951" rIns="103900" bIns="51951" anchor="ctr"/>
            <a:lstStyle/>
            <a:p>
              <a:endParaRPr lang="en-US" dirty="0">
                <a:solidFill>
                  <a:schemeClr val="bg1"/>
                </a:solidFill>
                <a:sym typeface="Trebuchet MS" panose="020B0603020202020204" pitchFamily="34" charset="0"/>
              </a:endParaRPr>
            </a:p>
          </p:txBody>
        </p:sp>
        <p:sp>
          <p:nvSpPr>
            <p:cNvPr id="4" name="CircleSegment"/>
            <p:cNvSpPr>
              <a:spLocks/>
            </p:cNvSpPr>
            <p:nvPr>
              <p:custDataLst>
                <p:tags r:id="rId6"/>
              </p:custDataLst>
            </p:nvPr>
          </p:nvSpPr>
          <p:spPr bwMode="gray">
            <a:xfrm>
              <a:off x="4328953" y="4322763"/>
              <a:ext cx="3534095" cy="1536700"/>
            </a:xfrm>
            <a:custGeom>
              <a:avLst/>
              <a:gdLst>
                <a:gd name="T0" fmla="*/ 2147483647 w 2239"/>
                <a:gd name="T1" fmla="*/ 2147483647 h 972"/>
                <a:gd name="T2" fmla="*/ 2147483647 w 2239"/>
                <a:gd name="T3" fmla="*/ 2147483647 h 972"/>
                <a:gd name="T4" fmla="*/ 2147483647 w 2239"/>
                <a:gd name="T5" fmla="*/ 2147483647 h 972"/>
                <a:gd name="T6" fmla="*/ 2147483647 w 2239"/>
                <a:gd name="T7" fmla="*/ 2147483647 h 972"/>
                <a:gd name="T8" fmla="*/ 2147483647 w 2239"/>
                <a:gd name="T9" fmla="*/ 2147483647 h 972"/>
                <a:gd name="T10" fmla="*/ 2147483647 w 2239"/>
                <a:gd name="T11" fmla="*/ 2147483647 h 972"/>
                <a:gd name="T12" fmla="*/ 2147483647 w 2239"/>
                <a:gd name="T13" fmla="*/ 2147483647 h 972"/>
                <a:gd name="T14" fmla="*/ 2147483647 w 2239"/>
                <a:gd name="T15" fmla="*/ 2147483647 h 972"/>
                <a:gd name="T16" fmla="*/ 2147483647 w 2239"/>
                <a:gd name="T17" fmla="*/ 2147483647 h 972"/>
                <a:gd name="T18" fmla="*/ 2147483647 w 2239"/>
                <a:gd name="T19" fmla="*/ 2147483647 h 972"/>
                <a:gd name="T20" fmla="*/ 2147483647 w 2239"/>
                <a:gd name="T21" fmla="*/ 2147483647 h 972"/>
                <a:gd name="T22" fmla="*/ 2147483647 w 2239"/>
                <a:gd name="T23" fmla="*/ 2147483647 h 972"/>
                <a:gd name="T24" fmla="*/ 2147483647 w 2239"/>
                <a:gd name="T25" fmla="*/ 2147483647 h 972"/>
                <a:gd name="T26" fmla="*/ 2147483647 w 2239"/>
                <a:gd name="T27" fmla="*/ 2147483647 h 972"/>
                <a:gd name="T28" fmla="*/ 2147483647 w 2239"/>
                <a:gd name="T29" fmla="*/ 2147483647 h 972"/>
                <a:gd name="T30" fmla="*/ 2147483647 w 2239"/>
                <a:gd name="T31" fmla="*/ 2147483647 h 972"/>
                <a:gd name="T32" fmla="*/ 2147483647 w 2239"/>
                <a:gd name="T33" fmla="*/ 2147483647 h 972"/>
                <a:gd name="T34" fmla="*/ 2147483647 w 2239"/>
                <a:gd name="T35" fmla="*/ 2147483647 h 972"/>
                <a:gd name="T36" fmla="*/ 2147483647 w 2239"/>
                <a:gd name="T37" fmla="*/ 2147483647 h 972"/>
                <a:gd name="T38" fmla="*/ 2147483647 w 2239"/>
                <a:gd name="T39" fmla="*/ 2147483647 h 972"/>
                <a:gd name="T40" fmla="*/ 2147483647 w 2239"/>
                <a:gd name="T41" fmla="*/ 2147483647 h 972"/>
                <a:gd name="T42" fmla="*/ 2147483647 w 2239"/>
                <a:gd name="T43" fmla="*/ 2147483647 h 972"/>
                <a:gd name="T44" fmla="*/ 2147483647 w 2239"/>
                <a:gd name="T45" fmla="*/ 2147483647 h 972"/>
                <a:gd name="T46" fmla="*/ 2147483647 w 2239"/>
                <a:gd name="T47" fmla="*/ 2147483647 h 972"/>
                <a:gd name="T48" fmla="*/ 2147483647 w 2239"/>
                <a:gd name="T49" fmla="*/ 2147483647 h 972"/>
                <a:gd name="T50" fmla="*/ 0 w 2239"/>
                <a:gd name="T51" fmla="*/ 2147483647 h 972"/>
                <a:gd name="T52" fmla="*/ 0 w 2239"/>
                <a:gd name="T53" fmla="*/ 2147483647 h 972"/>
                <a:gd name="T54" fmla="*/ 2147483647 w 2239"/>
                <a:gd name="T55" fmla="*/ 2147483647 h 972"/>
                <a:gd name="T56" fmla="*/ 2147483647 w 2239"/>
                <a:gd name="T57" fmla="*/ 2147483647 h 972"/>
                <a:gd name="T58" fmla="*/ 2147483647 w 2239"/>
                <a:gd name="T59" fmla="*/ 2147483647 h 972"/>
                <a:gd name="T60" fmla="*/ 2147483647 w 2239"/>
                <a:gd name="T61" fmla="*/ 0 h 972"/>
                <a:gd name="T62" fmla="*/ 2147483647 w 2239"/>
                <a:gd name="T63" fmla="*/ 0 h 972"/>
                <a:gd name="T64" fmla="*/ 2147483647 w 2239"/>
                <a:gd name="T65" fmla="*/ 2147483647 h 972"/>
                <a:gd name="T66" fmla="*/ 2147483647 w 2239"/>
                <a:gd name="T67" fmla="*/ 2147483647 h 972"/>
                <a:gd name="T68" fmla="*/ 2147483647 w 2239"/>
                <a:gd name="T69" fmla="*/ 2147483647 h 972"/>
                <a:gd name="T70" fmla="*/ 2147483647 w 2239"/>
                <a:gd name="T71" fmla="*/ 2147483647 h 972"/>
                <a:gd name="T72" fmla="*/ 2147483647 w 2239"/>
                <a:gd name="T73" fmla="*/ 2147483647 h 972"/>
                <a:gd name="T74" fmla="*/ 2147483647 w 2239"/>
                <a:gd name="T75" fmla="*/ 2147483647 h 972"/>
                <a:gd name="T76" fmla="*/ 2147483647 w 2239"/>
                <a:gd name="T77" fmla="*/ 2147483647 h 972"/>
                <a:gd name="T78" fmla="*/ 2147483647 w 2239"/>
                <a:gd name="T79" fmla="*/ 2147483647 h 972"/>
                <a:gd name="T80" fmla="*/ 2147483647 w 2239"/>
                <a:gd name="T81" fmla="*/ 2147483647 h 972"/>
                <a:gd name="T82" fmla="*/ 2147483647 w 2239"/>
                <a:gd name="T83" fmla="*/ 2147483647 h 972"/>
                <a:gd name="T84" fmla="*/ 2147483647 w 2239"/>
                <a:gd name="T85" fmla="*/ 2147483647 h 972"/>
                <a:gd name="T86" fmla="*/ 2147483647 w 2239"/>
                <a:gd name="T87" fmla="*/ 2147483647 h 972"/>
                <a:gd name="T88" fmla="*/ 2147483647 w 2239"/>
                <a:gd name="T89" fmla="*/ 2147483647 h 972"/>
                <a:gd name="T90" fmla="*/ 2147483647 w 2239"/>
                <a:gd name="T91" fmla="*/ 2147483647 h 972"/>
                <a:gd name="T92" fmla="*/ 2147483647 w 2239"/>
                <a:gd name="T93" fmla="*/ 2147483647 h 972"/>
                <a:gd name="T94" fmla="*/ 2147483647 w 2239"/>
                <a:gd name="T95" fmla="*/ 2147483647 h 972"/>
                <a:gd name="T96" fmla="*/ 2147483647 w 2239"/>
                <a:gd name="T97" fmla="*/ 2147483647 h 972"/>
                <a:gd name="T98" fmla="*/ 2147483647 w 2239"/>
                <a:gd name="T99" fmla="*/ 2147483647 h 972"/>
                <a:gd name="T100" fmla="*/ 2147483647 w 2239"/>
                <a:gd name="T101" fmla="*/ 2147483647 h 972"/>
                <a:gd name="T102" fmla="*/ 2147483647 w 2239"/>
                <a:gd name="T103" fmla="*/ 2147483647 h 972"/>
                <a:gd name="T104" fmla="*/ 2147483647 w 2239"/>
                <a:gd name="T105" fmla="*/ 2147483647 h 972"/>
                <a:gd name="T106" fmla="*/ 2147483647 w 2239"/>
                <a:gd name="T107" fmla="*/ 2147483647 h 972"/>
                <a:gd name="T108" fmla="*/ 2147483647 w 2239"/>
                <a:gd name="T109" fmla="*/ 2147483647 h 9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39"/>
                <a:gd name="T166" fmla="*/ 0 h 972"/>
                <a:gd name="T167" fmla="*/ 2239 w 2239"/>
                <a:gd name="T168" fmla="*/ 972 h 9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39" h="972">
                  <a:moveTo>
                    <a:pt x="2239" y="328"/>
                  </a:moveTo>
                  <a:lnTo>
                    <a:pt x="2239" y="328"/>
                  </a:lnTo>
                  <a:lnTo>
                    <a:pt x="2205" y="385"/>
                  </a:lnTo>
                  <a:lnTo>
                    <a:pt x="2166" y="439"/>
                  </a:lnTo>
                  <a:lnTo>
                    <a:pt x="2128" y="491"/>
                  </a:lnTo>
                  <a:lnTo>
                    <a:pt x="2086" y="541"/>
                  </a:lnTo>
                  <a:lnTo>
                    <a:pt x="2042" y="587"/>
                  </a:lnTo>
                  <a:lnTo>
                    <a:pt x="1996" y="631"/>
                  </a:lnTo>
                  <a:lnTo>
                    <a:pt x="1949" y="673"/>
                  </a:lnTo>
                  <a:lnTo>
                    <a:pt x="1899" y="712"/>
                  </a:lnTo>
                  <a:lnTo>
                    <a:pt x="1848" y="748"/>
                  </a:lnTo>
                  <a:lnTo>
                    <a:pt x="1796" y="783"/>
                  </a:lnTo>
                  <a:lnTo>
                    <a:pt x="1742" y="813"/>
                  </a:lnTo>
                  <a:lnTo>
                    <a:pt x="1686" y="842"/>
                  </a:lnTo>
                  <a:lnTo>
                    <a:pt x="1629" y="869"/>
                  </a:lnTo>
                  <a:lnTo>
                    <a:pt x="1571" y="892"/>
                  </a:lnTo>
                  <a:lnTo>
                    <a:pt x="1513" y="911"/>
                  </a:lnTo>
                  <a:lnTo>
                    <a:pt x="1454" y="928"/>
                  </a:lnTo>
                  <a:lnTo>
                    <a:pt x="1392" y="944"/>
                  </a:lnTo>
                  <a:lnTo>
                    <a:pt x="1331" y="955"/>
                  </a:lnTo>
                  <a:lnTo>
                    <a:pt x="1269" y="963"/>
                  </a:lnTo>
                  <a:lnTo>
                    <a:pt x="1208" y="970"/>
                  </a:lnTo>
                  <a:lnTo>
                    <a:pt x="1146" y="972"/>
                  </a:lnTo>
                  <a:lnTo>
                    <a:pt x="1083" y="972"/>
                  </a:lnTo>
                  <a:lnTo>
                    <a:pt x="1022" y="969"/>
                  </a:lnTo>
                  <a:lnTo>
                    <a:pt x="958" y="963"/>
                  </a:lnTo>
                  <a:lnTo>
                    <a:pt x="897" y="953"/>
                  </a:lnTo>
                  <a:lnTo>
                    <a:pt x="833" y="942"/>
                  </a:lnTo>
                  <a:lnTo>
                    <a:pt x="772" y="926"/>
                  </a:lnTo>
                  <a:lnTo>
                    <a:pt x="710" y="907"/>
                  </a:lnTo>
                  <a:lnTo>
                    <a:pt x="651" y="886"/>
                  </a:lnTo>
                  <a:lnTo>
                    <a:pt x="589" y="861"/>
                  </a:lnTo>
                  <a:lnTo>
                    <a:pt x="530" y="832"/>
                  </a:lnTo>
                  <a:lnTo>
                    <a:pt x="472" y="800"/>
                  </a:lnTo>
                  <a:lnTo>
                    <a:pt x="434" y="779"/>
                  </a:lnTo>
                  <a:lnTo>
                    <a:pt x="397" y="754"/>
                  </a:lnTo>
                  <a:lnTo>
                    <a:pt x="363" y="729"/>
                  </a:lnTo>
                  <a:lnTo>
                    <a:pt x="328" y="704"/>
                  </a:lnTo>
                  <a:lnTo>
                    <a:pt x="295" y="677"/>
                  </a:lnTo>
                  <a:lnTo>
                    <a:pt x="263" y="650"/>
                  </a:lnTo>
                  <a:lnTo>
                    <a:pt x="230" y="621"/>
                  </a:lnTo>
                  <a:lnTo>
                    <a:pt x="201" y="591"/>
                  </a:lnTo>
                  <a:lnTo>
                    <a:pt x="172" y="562"/>
                  </a:lnTo>
                  <a:lnTo>
                    <a:pt x="144" y="529"/>
                  </a:lnTo>
                  <a:lnTo>
                    <a:pt x="117" y="499"/>
                  </a:lnTo>
                  <a:lnTo>
                    <a:pt x="92" y="466"/>
                  </a:lnTo>
                  <a:lnTo>
                    <a:pt x="67" y="431"/>
                  </a:lnTo>
                  <a:lnTo>
                    <a:pt x="44" y="399"/>
                  </a:lnTo>
                  <a:lnTo>
                    <a:pt x="21" y="362"/>
                  </a:lnTo>
                  <a:lnTo>
                    <a:pt x="0" y="328"/>
                  </a:lnTo>
                  <a:lnTo>
                    <a:pt x="0" y="326"/>
                  </a:lnTo>
                  <a:lnTo>
                    <a:pt x="1" y="326"/>
                  </a:lnTo>
                  <a:lnTo>
                    <a:pt x="109" y="190"/>
                  </a:lnTo>
                  <a:lnTo>
                    <a:pt x="219" y="52"/>
                  </a:lnTo>
                  <a:lnTo>
                    <a:pt x="393" y="27"/>
                  </a:lnTo>
                  <a:lnTo>
                    <a:pt x="564" y="2"/>
                  </a:lnTo>
                  <a:lnTo>
                    <a:pt x="564" y="0"/>
                  </a:lnTo>
                  <a:lnTo>
                    <a:pt x="566" y="2"/>
                  </a:lnTo>
                  <a:lnTo>
                    <a:pt x="566" y="0"/>
                  </a:lnTo>
                  <a:lnTo>
                    <a:pt x="566" y="2"/>
                  </a:lnTo>
                  <a:lnTo>
                    <a:pt x="587" y="36"/>
                  </a:lnTo>
                  <a:lnTo>
                    <a:pt x="610" y="69"/>
                  </a:lnTo>
                  <a:lnTo>
                    <a:pt x="637" y="102"/>
                  </a:lnTo>
                  <a:lnTo>
                    <a:pt x="664" y="132"/>
                  </a:lnTo>
                  <a:lnTo>
                    <a:pt x="695" y="161"/>
                  </a:lnTo>
                  <a:lnTo>
                    <a:pt x="728" y="188"/>
                  </a:lnTo>
                  <a:lnTo>
                    <a:pt x="762" y="213"/>
                  </a:lnTo>
                  <a:lnTo>
                    <a:pt x="799" y="234"/>
                  </a:lnTo>
                  <a:lnTo>
                    <a:pt x="827" y="251"/>
                  </a:lnTo>
                  <a:lnTo>
                    <a:pt x="856" y="265"/>
                  </a:lnTo>
                  <a:lnTo>
                    <a:pt x="887" y="276"/>
                  </a:lnTo>
                  <a:lnTo>
                    <a:pt x="918" y="288"/>
                  </a:lnTo>
                  <a:lnTo>
                    <a:pt x="947" y="297"/>
                  </a:lnTo>
                  <a:lnTo>
                    <a:pt x="977" y="305"/>
                  </a:lnTo>
                  <a:lnTo>
                    <a:pt x="1008" y="311"/>
                  </a:lnTo>
                  <a:lnTo>
                    <a:pt x="1039" y="314"/>
                  </a:lnTo>
                  <a:lnTo>
                    <a:pt x="1070" y="318"/>
                  </a:lnTo>
                  <a:lnTo>
                    <a:pt x="1102" y="320"/>
                  </a:lnTo>
                  <a:lnTo>
                    <a:pt x="1133" y="320"/>
                  </a:lnTo>
                  <a:lnTo>
                    <a:pt x="1164" y="318"/>
                  </a:lnTo>
                  <a:lnTo>
                    <a:pt x="1194" y="316"/>
                  </a:lnTo>
                  <a:lnTo>
                    <a:pt x="1223" y="311"/>
                  </a:lnTo>
                  <a:lnTo>
                    <a:pt x="1254" y="305"/>
                  </a:lnTo>
                  <a:lnTo>
                    <a:pt x="1285" y="299"/>
                  </a:lnTo>
                  <a:lnTo>
                    <a:pt x="1314" y="290"/>
                  </a:lnTo>
                  <a:lnTo>
                    <a:pt x="1342" y="280"/>
                  </a:lnTo>
                  <a:lnTo>
                    <a:pt x="1371" y="268"/>
                  </a:lnTo>
                  <a:lnTo>
                    <a:pt x="1400" y="255"/>
                  </a:lnTo>
                  <a:lnTo>
                    <a:pt x="1427" y="242"/>
                  </a:lnTo>
                  <a:lnTo>
                    <a:pt x="1454" y="226"/>
                  </a:lnTo>
                  <a:lnTo>
                    <a:pt x="1479" y="209"/>
                  </a:lnTo>
                  <a:lnTo>
                    <a:pt x="1504" y="192"/>
                  </a:lnTo>
                  <a:lnTo>
                    <a:pt x="1529" y="172"/>
                  </a:lnTo>
                  <a:lnTo>
                    <a:pt x="1552" y="151"/>
                  </a:lnTo>
                  <a:lnTo>
                    <a:pt x="1575" y="130"/>
                  </a:lnTo>
                  <a:lnTo>
                    <a:pt x="1598" y="107"/>
                  </a:lnTo>
                  <a:lnTo>
                    <a:pt x="1617" y="82"/>
                  </a:lnTo>
                  <a:lnTo>
                    <a:pt x="1636" y="57"/>
                  </a:lnTo>
                  <a:lnTo>
                    <a:pt x="1655" y="31"/>
                  </a:lnTo>
                  <a:lnTo>
                    <a:pt x="1673" y="2"/>
                  </a:lnTo>
                  <a:lnTo>
                    <a:pt x="1782" y="138"/>
                  </a:lnTo>
                  <a:lnTo>
                    <a:pt x="1892" y="276"/>
                  </a:lnTo>
                  <a:lnTo>
                    <a:pt x="2065" y="303"/>
                  </a:lnTo>
                  <a:lnTo>
                    <a:pt x="2239" y="328"/>
                  </a:lnTo>
                </a:path>
              </a:pathLst>
            </a:custGeom>
            <a:solidFill>
              <a:srgbClr val="E71C57"/>
            </a:solidFill>
            <a:ln w="3175" cap="rnd">
              <a:solidFill>
                <a:schemeClr val="bg1"/>
              </a:solidFill>
              <a:round/>
              <a:headEnd/>
              <a:tailEnd/>
            </a:ln>
          </p:spPr>
          <p:txBody>
            <a:bodyPr lIns="103900" tIns="51951" rIns="103900" bIns="51951" anchor="ctr"/>
            <a:lstStyle/>
            <a:p>
              <a:pPr algn="ctr"/>
              <a:endParaRPr lang="en-US" dirty="0" smtClean="0">
                <a:solidFill>
                  <a:schemeClr val="bg1"/>
                </a:solidFill>
                <a:sym typeface="Trebuchet MS" panose="020B0603020202020204" pitchFamily="34" charset="0"/>
              </a:endParaRPr>
            </a:p>
            <a:p>
              <a:pPr algn="ctr"/>
              <a:endParaRPr lang="en-US" dirty="0" smtClean="0">
                <a:solidFill>
                  <a:schemeClr val="bg1"/>
                </a:solidFill>
                <a:sym typeface="Trebuchet MS" panose="020B0603020202020204" pitchFamily="34" charset="0"/>
              </a:endParaRPr>
            </a:p>
            <a:p>
              <a:pPr algn="ctr"/>
              <a:endParaRPr lang="en-US" dirty="0">
                <a:solidFill>
                  <a:schemeClr val="bg1"/>
                </a:solidFill>
              </a:endParaRPr>
            </a:p>
          </p:txBody>
        </p:sp>
        <p:sp>
          <p:nvSpPr>
            <p:cNvPr id="5" name="Rectangle 7"/>
            <p:cNvSpPr>
              <a:spLocks noChangeArrowheads="1"/>
            </p:cNvSpPr>
            <p:nvPr>
              <p:custDataLst>
                <p:tags r:id="rId7"/>
              </p:custDataLst>
            </p:nvPr>
          </p:nvSpPr>
          <p:spPr bwMode="gray">
            <a:xfrm rot="3700844">
              <a:off x="6732456" y="3032942"/>
              <a:ext cx="1564531" cy="553998"/>
            </a:xfrm>
            <a:prstGeom prst="rect">
              <a:avLst/>
            </a:prstGeom>
            <a:noFill/>
            <a:ln w="9525" algn="ctr">
              <a:noFill/>
              <a:miter lim="800000"/>
              <a:headEnd type="none" w="lg" len="lg"/>
              <a:tailEnd type="none" w="lg" len="lg"/>
            </a:ln>
          </p:spPr>
          <p:txBody>
            <a:bodyPr wrap="none" lIns="0" tIns="0" rIns="0" bIns="0" anchor="ctr">
              <a:spAutoFit/>
            </a:bodyPr>
            <a:lstStyle/>
            <a:p>
              <a:pPr algn="ctr"/>
              <a:r>
                <a:rPr lang="en-US" dirty="0" smtClean="0">
                  <a:solidFill>
                    <a:schemeClr val="bg1"/>
                  </a:solidFill>
                  <a:sym typeface="Trebuchet MS" panose="020B0603020202020204" pitchFamily="34" charset="0"/>
                </a:rPr>
                <a:t>Data collection</a:t>
              </a:r>
            </a:p>
            <a:p>
              <a:pPr algn="ctr"/>
              <a:r>
                <a:rPr lang="en-US" dirty="0">
                  <a:solidFill>
                    <a:schemeClr val="bg1"/>
                  </a:solidFill>
                  <a:sym typeface="Trebuchet MS" panose="020B0603020202020204" pitchFamily="34" charset="0"/>
                </a:rPr>
                <a:t>a</a:t>
              </a:r>
              <a:r>
                <a:rPr lang="en-US" dirty="0" smtClean="0">
                  <a:solidFill>
                    <a:schemeClr val="bg1"/>
                  </a:solidFill>
                  <a:sym typeface="Trebuchet MS" panose="020B0603020202020204" pitchFamily="34" charset="0"/>
                </a:rPr>
                <a:t>nd analysis</a:t>
              </a:r>
              <a:endParaRPr lang="en-US" dirty="0">
                <a:solidFill>
                  <a:schemeClr val="bg1"/>
                </a:solidFill>
                <a:sym typeface="Trebuchet MS" panose="020B0603020202020204" pitchFamily="34" charset="0"/>
              </a:endParaRPr>
            </a:p>
          </p:txBody>
        </p:sp>
        <p:sp>
          <p:nvSpPr>
            <p:cNvPr id="6" name="Rectangle 8"/>
            <p:cNvSpPr>
              <a:spLocks noChangeArrowheads="1"/>
            </p:cNvSpPr>
            <p:nvPr>
              <p:custDataLst>
                <p:tags r:id="rId8"/>
              </p:custDataLst>
            </p:nvPr>
          </p:nvSpPr>
          <p:spPr bwMode="gray">
            <a:xfrm rot="17802573">
              <a:off x="4107338" y="3111116"/>
              <a:ext cx="1143070" cy="276999"/>
            </a:xfrm>
            <a:prstGeom prst="rect">
              <a:avLst/>
            </a:prstGeom>
            <a:noFill/>
            <a:ln w="9525" algn="ctr">
              <a:noFill/>
              <a:miter lim="800000"/>
              <a:headEnd type="none" w="lg" len="lg"/>
              <a:tailEnd type="none" w="lg" len="lg"/>
            </a:ln>
          </p:spPr>
          <p:txBody>
            <a:bodyPr wrap="none" lIns="0" tIns="0" rIns="0" bIns="0" anchor="ctr">
              <a:spAutoFit/>
            </a:bodyPr>
            <a:lstStyle/>
            <a:p>
              <a:pPr algn="ctr"/>
              <a:r>
                <a:rPr lang="en-US" dirty="0" smtClean="0">
                  <a:solidFill>
                    <a:schemeClr val="bg1"/>
                  </a:solidFill>
                  <a:sym typeface="Trebuchet MS" panose="020B0603020202020204" pitchFamily="34" charset="0"/>
                </a:rPr>
                <a:t>Technology</a:t>
              </a:r>
              <a:endParaRPr lang="en-US" dirty="0">
                <a:solidFill>
                  <a:schemeClr val="bg1"/>
                </a:solidFill>
                <a:sym typeface="Trebuchet MS" panose="020B0603020202020204" pitchFamily="34" charset="0"/>
              </a:endParaRPr>
            </a:p>
          </p:txBody>
        </p:sp>
        <p:sp>
          <p:nvSpPr>
            <p:cNvPr id="7" name="Rectangle 9"/>
            <p:cNvSpPr>
              <a:spLocks noChangeArrowheads="1"/>
            </p:cNvSpPr>
            <p:nvPr>
              <p:custDataLst>
                <p:tags r:id="rId9"/>
              </p:custDataLst>
            </p:nvPr>
          </p:nvSpPr>
          <p:spPr bwMode="gray">
            <a:xfrm>
              <a:off x="5238397" y="5052242"/>
              <a:ext cx="1715213" cy="553998"/>
            </a:xfrm>
            <a:prstGeom prst="rect">
              <a:avLst/>
            </a:prstGeom>
            <a:noFill/>
            <a:ln w="9525" algn="ctr">
              <a:noFill/>
              <a:miter lim="800000"/>
              <a:headEnd type="none" w="lg" len="lg"/>
              <a:tailEnd type="none" w="lg" len="lg"/>
            </a:ln>
          </p:spPr>
          <p:txBody>
            <a:bodyPr wrap="none" lIns="0" tIns="0" rIns="0" bIns="0" anchor="ctr">
              <a:spAutoFit/>
            </a:bodyPr>
            <a:lstStyle/>
            <a:p>
              <a:pPr algn="ctr"/>
              <a:r>
                <a:rPr lang="en-US" dirty="0" smtClean="0">
                  <a:solidFill>
                    <a:schemeClr val="bg1"/>
                  </a:solidFill>
                  <a:sym typeface="Trebuchet MS" panose="020B0603020202020204" pitchFamily="34" charset="0"/>
                </a:rPr>
                <a:t>Experimentation</a:t>
              </a:r>
            </a:p>
            <a:p>
              <a:pPr algn="ctr"/>
              <a:r>
                <a:rPr lang="en-US" dirty="0">
                  <a:solidFill>
                    <a:schemeClr val="bg1"/>
                  </a:solidFill>
                  <a:sym typeface="Trebuchet MS" panose="020B0603020202020204" pitchFamily="34" charset="0"/>
                </a:rPr>
                <a:t>a</a:t>
              </a:r>
              <a:r>
                <a:rPr lang="en-US" dirty="0" smtClean="0">
                  <a:solidFill>
                    <a:schemeClr val="bg1"/>
                  </a:solidFill>
                  <a:sym typeface="Trebuchet MS" panose="020B0603020202020204" pitchFamily="34" charset="0"/>
                </a:rPr>
                <a:t>nd modeling</a:t>
              </a:r>
              <a:endParaRPr lang="en-US" dirty="0">
                <a:solidFill>
                  <a:schemeClr val="bg1"/>
                </a:solidFill>
                <a:sym typeface="Trebuchet MS" panose="020B0603020202020204" pitchFamily="34" charset="0"/>
              </a:endParaRPr>
            </a:p>
          </p:txBody>
        </p:sp>
      </p:grpSp>
      <p:sp>
        <p:nvSpPr>
          <p:cNvPr id="8" name="Title 7"/>
          <p:cNvSpPr>
            <a:spLocks noGrp="1"/>
          </p:cNvSpPr>
          <p:nvPr>
            <p:ph type="title"/>
          </p:nvPr>
        </p:nvSpPr>
        <p:spPr>
          <a:xfrm>
            <a:off x="630000" y="622800"/>
            <a:ext cx="10933200" cy="941796"/>
          </a:xfrm>
        </p:spPr>
        <p:txBody>
          <a:bodyPr/>
          <a:lstStyle/>
          <a:p>
            <a:r>
              <a:rPr lang="en-US" dirty="0" smtClean="0">
                <a:latin typeface="+mj-lt"/>
              </a:rPr>
              <a:t>Successful projects find themselves in virtuous cycles where each component drives another</a:t>
            </a:r>
            <a:endParaRPr lang="en-US" dirty="0">
              <a:latin typeface="+mj-lt"/>
            </a:endParaRPr>
          </a:p>
        </p:txBody>
      </p:sp>
      <p:sp>
        <p:nvSpPr>
          <p:cNvPr id="1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11" name="NavigationIcon"/>
          <p:cNvGrpSpPr>
            <a:grpSpLocks noChangeAspect="1"/>
          </p:cNvGrpSpPr>
          <p:nvPr/>
        </p:nvGrpSpPr>
        <p:grpSpPr>
          <a:xfrm>
            <a:off x="11691131" y="132877"/>
            <a:ext cx="364586" cy="365760"/>
            <a:chOff x="5445632" y="2775204"/>
            <a:chExt cx="1301877" cy="1306068"/>
          </a:xfrm>
        </p:grpSpPr>
        <p:sp>
          <p:nvSpPr>
            <p:cNvPr id="12"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13"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
        <p:nvSpPr>
          <p:cNvPr id="14" name="Rectangle 13"/>
          <p:cNvSpPr/>
          <p:nvPr/>
        </p:nvSpPr>
        <p:spPr>
          <a:xfrm>
            <a:off x="629999" y="2098681"/>
            <a:ext cx="3178429" cy="1723736"/>
          </a:xfrm>
          <a:prstGeom prst="rect">
            <a:avLst/>
          </a:prstGeom>
          <a:solidFill>
            <a:srgbClr val="FFFFFF"/>
          </a:solidFill>
          <a:ln w="2540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45720" rIns="22860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200" dirty="0" smtClean="0">
                <a:solidFill>
                  <a:schemeClr val="tx1">
                    <a:lumMod val="100000"/>
                  </a:schemeClr>
                </a:solidFill>
                <a:latin typeface="Trebuchet MS" panose="020B0603020202020204" pitchFamily="34" charset="0"/>
              </a:rPr>
              <a:t>More accurate modeling drives the need for more technology to scale up the insights and outputs of those models, in turn driving additional data collection and understanding of the customer</a:t>
            </a:r>
          </a:p>
        </p:txBody>
      </p:sp>
      <p:sp>
        <p:nvSpPr>
          <p:cNvPr id="15" name="Rectangle 14"/>
          <p:cNvSpPr/>
          <p:nvPr/>
        </p:nvSpPr>
        <p:spPr>
          <a:xfrm>
            <a:off x="8512702" y="3212683"/>
            <a:ext cx="3178429" cy="1348431"/>
          </a:xfrm>
          <a:prstGeom prst="rect">
            <a:avLst/>
          </a:prstGeom>
          <a:solidFill>
            <a:srgbClr val="FFFFFF"/>
          </a:solidFill>
          <a:ln w="254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45720" rIns="22860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mproved technology allows more data to be analyzed more quickly, improving the value of the data generated and </a:t>
            </a:r>
            <a:r>
              <a:rPr lang="en-US" sz="1200" dirty="0" smtClean="0">
                <a:solidFill>
                  <a:schemeClr val="tx1">
                    <a:lumMod val="100000"/>
                  </a:schemeClr>
                </a:solidFill>
                <a:latin typeface="Trebuchet MS" panose="020B0603020202020204" pitchFamily="34" charset="0"/>
              </a:rPr>
              <a:t>reducing the </a:t>
            </a:r>
            <a:r>
              <a:rPr lang="en-US" sz="1200" dirty="0">
                <a:solidFill>
                  <a:schemeClr val="tx1">
                    <a:lumMod val="100000"/>
                  </a:schemeClr>
                </a:solidFill>
                <a:latin typeface="Trebuchet MS" panose="020B0603020202020204" pitchFamily="34" charset="0"/>
              </a:rPr>
              <a:t>cost to maintain the data </a:t>
            </a:r>
            <a:r>
              <a:rPr lang="en-US" sz="1200" dirty="0" smtClean="0">
                <a:solidFill>
                  <a:schemeClr val="tx1">
                    <a:lumMod val="100000"/>
                  </a:schemeClr>
                </a:solidFill>
                <a:latin typeface="Trebuchet MS" panose="020B0603020202020204" pitchFamily="34" charset="0"/>
              </a:rPr>
              <a:t>set</a:t>
            </a:r>
            <a:endParaRPr lang="en-US" sz="1200" dirty="0">
              <a:solidFill>
                <a:schemeClr val="tx1">
                  <a:lumMod val="100000"/>
                </a:schemeClr>
              </a:solidFill>
              <a:latin typeface="Trebuchet MS" panose="020B0603020202020204" pitchFamily="34" charset="0"/>
            </a:endParaRPr>
          </a:p>
        </p:txBody>
      </p:sp>
      <p:sp>
        <p:nvSpPr>
          <p:cNvPr id="16" name="Rectangle 15"/>
          <p:cNvSpPr/>
          <p:nvPr/>
        </p:nvSpPr>
        <p:spPr>
          <a:xfrm>
            <a:off x="604619" y="4653830"/>
            <a:ext cx="3178429" cy="1350821"/>
          </a:xfrm>
          <a:prstGeom prst="rect">
            <a:avLst/>
          </a:prstGeom>
          <a:solidFill>
            <a:srgbClr val="FFFFFF"/>
          </a:solidFill>
          <a:ln w="2540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schemeClr val="tx2">
                  <a:lumMod val="100000"/>
                </a:schemeClr>
              </a:buClr>
              <a:buSzPct val="100000"/>
            </a:pPr>
            <a:r>
              <a:rPr lang="en-US" sz="1200" dirty="0" smtClean="0">
                <a:solidFill>
                  <a:schemeClr val="tx1">
                    <a:lumMod val="100000"/>
                  </a:schemeClr>
                </a:solidFill>
                <a:latin typeface="Trebuchet MS" panose="020B0603020202020204" pitchFamily="34" charset="0"/>
              </a:rPr>
              <a:t>Increased availability of data improves the quality of model outputs and drives additional value. The ability to analyze more data drives the need for more technology</a:t>
            </a:r>
          </a:p>
        </p:txBody>
      </p:sp>
    </p:spTree>
    <p:custDataLst>
      <p:tags r:id="rId2"/>
    </p:custDataLst>
    <p:extLst>
      <p:ext uri="{BB962C8B-B14F-4D97-AF65-F5344CB8AC3E}">
        <p14:creationId xmlns:p14="http://schemas.microsoft.com/office/powerpoint/2010/main" val="264530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Many steps have to be taken before a value-adding model can be constructed and implemented</a:t>
            </a:r>
            <a:endParaRPr lang="en-US" dirty="0"/>
          </a:p>
        </p:txBody>
      </p:sp>
      <p:grpSp>
        <p:nvGrpSpPr>
          <p:cNvPr id="19" name="Group 18"/>
          <p:cNvGrpSpPr/>
          <p:nvPr/>
        </p:nvGrpSpPr>
        <p:grpSpPr>
          <a:xfrm>
            <a:off x="628553" y="2485081"/>
            <a:ext cx="10934700" cy="832082"/>
            <a:chOff x="630000" y="2080800"/>
            <a:chExt cx="11223325" cy="832082"/>
          </a:xfrm>
        </p:grpSpPr>
        <p:sp>
          <p:nvSpPr>
            <p:cNvPr id="3" name="ValueChainStarter"/>
            <p:cNvSpPr>
              <a:spLocks noChangeArrowheads="1"/>
            </p:cNvSpPr>
            <p:nvPr>
              <p:custDataLst>
                <p:tags r:id="rId2"/>
              </p:custDataLst>
            </p:nvPr>
          </p:nvSpPr>
          <p:spPr bwMode="gray">
            <a:xfrm>
              <a:off x="630000" y="2080800"/>
              <a:ext cx="2808000" cy="832082"/>
            </a:xfrm>
            <a:prstGeom prst="homePlate">
              <a:avLst>
                <a:gd name="adj" fmla="val 12004"/>
              </a:avLst>
            </a:prstGeom>
            <a:solidFill>
              <a:schemeClr val="tx2"/>
            </a:solidFill>
            <a:ln w="38100" cap="rnd" cmpd="sng" algn="ctr">
              <a:solidFill>
                <a:srgbClr val="29BA74"/>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Data exploration</a:t>
              </a:r>
              <a:endParaRPr lang="en-US" sz="2400" dirty="0">
                <a:solidFill>
                  <a:schemeClr val="bg1"/>
                </a:solidFill>
                <a:sym typeface="Trebuchet MS" panose="020B0603020202020204" pitchFamily="34" charset="0"/>
              </a:endParaRPr>
            </a:p>
          </p:txBody>
        </p:sp>
        <p:sp>
          <p:nvSpPr>
            <p:cNvPr id="4" name="ValueChainHeader"/>
            <p:cNvSpPr>
              <a:spLocks noChangeArrowheads="1"/>
            </p:cNvSpPr>
            <p:nvPr>
              <p:custDataLst>
                <p:tags r:id="rId3"/>
              </p:custDataLst>
            </p:nvPr>
          </p:nvSpPr>
          <p:spPr bwMode="gray">
            <a:xfrm>
              <a:off x="3435108" y="2080800"/>
              <a:ext cx="2808000" cy="832082"/>
            </a:xfrm>
            <a:prstGeom prst="chevron">
              <a:avLst>
                <a:gd name="adj" fmla="val 12004"/>
              </a:avLst>
            </a:prstGeom>
            <a:solidFill>
              <a:srgbClr val="30C1D7"/>
            </a:solidFill>
            <a:ln w="38100" cap="rnd" cmpd="sng" algn="ctr">
              <a:solidFill>
                <a:srgbClr val="30C1D7"/>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Feature development</a:t>
              </a:r>
              <a:endParaRPr lang="en-US" sz="2400" dirty="0">
                <a:solidFill>
                  <a:schemeClr val="bg1"/>
                </a:solidFill>
                <a:sym typeface="Trebuchet MS" panose="020B0603020202020204" pitchFamily="34" charset="0"/>
              </a:endParaRPr>
            </a:p>
          </p:txBody>
        </p:sp>
        <p:sp>
          <p:nvSpPr>
            <p:cNvPr id="5" name="ValueChainHeader"/>
            <p:cNvSpPr>
              <a:spLocks noChangeArrowheads="1"/>
            </p:cNvSpPr>
            <p:nvPr>
              <p:custDataLst>
                <p:tags r:id="rId4"/>
              </p:custDataLst>
            </p:nvPr>
          </p:nvSpPr>
          <p:spPr bwMode="gray">
            <a:xfrm>
              <a:off x="6240216" y="2080800"/>
              <a:ext cx="2808000" cy="832082"/>
            </a:xfrm>
            <a:prstGeom prst="chevron">
              <a:avLst>
                <a:gd name="adj" fmla="val 12004"/>
              </a:avLst>
            </a:prstGeom>
            <a:solidFill>
              <a:srgbClr val="E71C57"/>
            </a:solidFill>
            <a:ln w="38100" cap="rnd" cmpd="sng" algn="ctr">
              <a:solidFill>
                <a:srgbClr val="E71C57"/>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Model candidate identification</a:t>
              </a:r>
              <a:endParaRPr lang="en-US" sz="2400" dirty="0">
                <a:solidFill>
                  <a:schemeClr val="bg1"/>
                </a:solidFill>
                <a:sym typeface="Trebuchet MS" panose="020B0603020202020204" pitchFamily="34" charset="0"/>
              </a:endParaRPr>
            </a:p>
          </p:txBody>
        </p:sp>
        <p:sp>
          <p:nvSpPr>
            <p:cNvPr id="6" name="ValueChainHeader"/>
            <p:cNvSpPr>
              <a:spLocks noChangeArrowheads="1"/>
            </p:cNvSpPr>
            <p:nvPr>
              <p:custDataLst>
                <p:tags r:id="rId5"/>
              </p:custDataLst>
            </p:nvPr>
          </p:nvSpPr>
          <p:spPr bwMode="gray">
            <a:xfrm>
              <a:off x="9045325" y="2080800"/>
              <a:ext cx="2808000" cy="832082"/>
            </a:xfrm>
            <a:prstGeom prst="chevron">
              <a:avLst>
                <a:gd name="adj" fmla="val 12004"/>
              </a:avLst>
            </a:prstGeom>
            <a:solidFill>
              <a:srgbClr val="295E7E"/>
            </a:solidFill>
            <a:ln w="38100" cap="rnd" cmpd="sng" algn="ctr">
              <a:solidFill>
                <a:srgbClr val="295E7E"/>
              </a:solidFill>
              <a:prstDash val="solid"/>
              <a:round/>
              <a:headEnd type="none" w="med" len="med"/>
              <a:tailEnd type="none" w="med" len="med"/>
            </a:ln>
          </p:spPr>
          <p:txBody>
            <a:bodyPr lIns="0" tIns="0" rIns="0" bIns="0" anchor="ctr" anchorCtr="0"/>
            <a:lstStyle/>
            <a:p>
              <a:pPr algn="ctr" eaLnBrk="0" hangingPunct="0"/>
              <a:r>
                <a:rPr lang="en-US" sz="2400" dirty="0" smtClean="0">
                  <a:solidFill>
                    <a:schemeClr val="bg1"/>
                  </a:solidFill>
                  <a:sym typeface="Trebuchet MS" panose="020B0603020202020204" pitchFamily="34" charset="0"/>
                </a:rPr>
                <a:t>Scaling and execution</a:t>
              </a:r>
              <a:endParaRPr lang="en-US" sz="2400" dirty="0">
                <a:solidFill>
                  <a:schemeClr val="bg1"/>
                </a:solidFill>
                <a:sym typeface="Trebuchet MS" panose="020B0603020202020204" pitchFamily="34" charset="0"/>
              </a:endParaRPr>
            </a:p>
          </p:txBody>
        </p:sp>
      </p:grpSp>
      <p:sp>
        <p:nvSpPr>
          <p:cNvPr id="7" name="ee4pContent1"/>
          <p:cNvSpPr txBox="1"/>
          <p:nvPr/>
        </p:nvSpPr>
        <p:spPr>
          <a:xfrm>
            <a:off x="630000"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Explore if the question can be answered with the current data</a:t>
            </a:r>
          </a:p>
          <a:p>
            <a:pPr lvl="1">
              <a:buClr>
                <a:schemeClr val="tx2">
                  <a:lumMod val="100000"/>
                </a:schemeClr>
              </a:buClr>
              <a:buSzPct val="100000"/>
            </a:pPr>
            <a:r>
              <a:rPr lang="en-US" sz="1400" dirty="0" smtClean="0">
                <a:solidFill>
                  <a:schemeClr val="tx1">
                    <a:lumMod val="100000"/>
                  </a:schemeClr>
                </a:solidFill>
              </a:rPr>
              <a:t>Identify which data is usable and of appropriate quality</a:t>
            </a:r>
            <a:endParaRPr lang="en-US" sz="1400" dirty="0">
              <a:solidFill>
                <a:schemeClr val="tx1">
                  <a:lumMod val="100000"/>
                </a:schemeClr>
              </a:solidFill>
            </a:endParaRPr>
          </a:p>
        </p:txBody>
      </p:sp>
      <p:sp>
        <p:nvSpPr>
          <p:cNvPr id="8" name="ee4pContent2"/>
          <p:cNvSpPr txBox="1"/>
          <p:nvPr/>
        </p:nvSpPr>
        <p:spPr>
          <a:xfrm>
            <a:off x="3435108"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Combine the data create new metrics e.g. average purchases last three months, favorite product, most frequently visited location</a:t>
            </a:r>
            <a:endParaRPr lang="en-US" sz="1400" dirty="0">
              <a:solidFill>
                <a:schemeClr val="tx1">
                  <a:lumMod val="100000"/>
                </a:schemeClr>
              </a:solidFill>
            </a:endParaRPr>
          </a:p>
        </p:txBody>
      </p:sp>
      <p:sp>
        <p:nvSpPr>
          <p:cNvPr id="9" name="ee4pContent3"/>
          <p:cNvSpPr txBox="1"/>
          <p:nvPr/>
        </p:nvSpPr>
        <p:spPr>
          <a:xfrm>
            <a:off x="6240216"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Determine if there's an appropriate model to predict a given outcome – for example, if a customer will purchase a given class of product</a:t>
            </a:r>
            <a:endParaRPr lang="en-US" sz="1400" dirty="0">
              <a:solidFill>
                <a:schemeClr val="tx1">
                  <a:lumMod val="100000"/>
                </a:schemeClr>
              </a:solidFill>
            </a:endParaRPr>
          </a:p>
        </p:txBody>
      </p:sp>
      <p:sp>
        <p:nvSpPr>
          <p:cNvPr id="10" name="ee4pContent4"/>
          <p:cNvSpPr txBox="1"/>
          <p:nvPr/>
        </p:nvSpPr>
        <p:spPr>
          <a:xfrm>
            <a:off x="9045325" y="4389120"/>
            <a:ext cx="2518024" cy="193626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400" dirty="0" smtClean="0">
                <a:solidFill>
                  <a:schemeClr val="tx1">
                    <a:lumMod val="100000"/>
                  </a:schemeClr>
                </a:solidFill>
              </a:rPr>
              <a:t>Transform the entirety of the prior work into a sustainable system that can be sustained with limited updates</a:t>
            </a:r>
            <a:endParaRPr lang="en-US" sz="1400" dirty="0">
              <a:solidFill>
                <a:schemeClr val="tx1">
                  <a:lumMod val="100000"/>
                </a:schemeClr>
              </a:solidFill>
            </a:endParaRPr>
          </a:p>
        </p:txBody>
      </p:sp>
      <p:sp>
        <p:nvSpPr>
          <p:cNvPr id="11" name="ee4pHeader1"/>
          <p:cNvSpPr txBox="1"/>
          <p:nvPr/>
        </p:nvSpPr>
        <p:spPr>
          <a:xfrm>
            <a:off x="628553"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chemeClr val="tx2"/>
                </a:solidFill>
              </a:rPr>
              <a:t>Identify what data exists</a:t>
            </a:r>
            <a:endParaRPr lang="en-US" sz="2400" dirty="0">
              <a:solidFill>
                <a:schemeClr val="tx2"/>
              </a:solidFill>
            </a:endParaRPr>
          </a:p>
        </p:txBody>
      </p:sp>
      <p:sp>
        <p:nvSpPr>
          <p:cNvPr id="12" name="ee4pHeader2"/>
          <p:cNvSpPr txBox="1"/>
          <p:nvPr/>
        </p:nvSpPr>
        <p:spPr>
          <a:xfrm>
            <a:off x="3433661"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30C1D7"/>
                </a:solidFill>
              </a:rPr>
              <a:t>Develop new understandings</a:t>
            </a:r>
            <a:endParaRPr lang="en-US" sz="2400" dirty="0">
              <a:solidFill>
                <a:srgbClr val="30C1D7"/>
              </a:solidFill>
            </a:endParaRPr>
          </a:p>
        </p:txBody>
      </p:sp>
      <p:sp>
        <p:nvSpPr>
          <p:cNvPr id="13" name="ee4pHeader3"/>
          <p:cNvSpPr txBox="1"/>
          <p:nvPr/>
        </p:nvSpPr>
        <p:spPr>
          <a:xfrm>
            <a:off x="6238769"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E71C57"/>
                </a:solidFill>
              </a:rPr>
              <a:t>Define the problem's solution</a:t>
            </a:r>
            <a:endParaRPr lang="en-US" sz="2400" dirty="0">
              <a:solidFill>
                <a:srgbClr val="E71C57"/>
              </a:solidFill>
            </a:endParaRPr>
          </a:p>
        </p:txBody>
      </p:sp>
      <p:sp>
        <p:nvSpPr>
          <p:cNvPr id="14" name="ee4pHeader4"/>
          <p:cNvSpPr txBox="1"/>
          <p:nvPr/>
        </p:nvSpPr>
        <p:spPr>
          <a:xfrm>
            <a:off x="9043878" y="3450775"/>
            <a:ext cx="2518024" cy="759600"/>
          </a:xfrm>
          <a:prstGeom prst="rect">
            <a:avLst/>
          </a:prstGeom>
          <a:noFill/>
          <a:ln cap="rnd">
            <a:noFill/>
            <a:round/>
          </a:ln>
          <a:extLst/>
        </p:spPr>
        <p:txBody>
          <a:bodyPr wrap="square" lIns="0" tIns="0" rIns="0" bIns="0" rtlCol="0" anchor="b" anchorCtr="0">
            <a:noAutofit/>
          </a:bodyPr>
          <a:lstStyle/>
          <a:p>
            <a:r>
              <a:rPr lang="en-US" sz="2400" dirty="0" smtClean="0">
                <a:solidFill>
                  <a:srgbClr val="295E7E"/>
                </a:solidFill>
              </a:rPr>
              <a:t>Scale the output and execute</a:t>
            </a:r>
            <a:endParaRPr lang="en-US" sz="2400" dirty="0">
              <a:solidFill>
                <a:srgbClr val="295E7E"/>
              </a:solidFill>
            </a:endParaRPr>
          </a:p>
        </p:txBody>
      </p:sp>
      <p:sp>
        <p:nvSpPr>
          <p:cNvPr id="3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32" name="NavigationIcon"/>
          <p:cNvGrpSpPr>
            <a:grpSpLocks noChangeAspect="1"/>
          </p:cNvGrpSpPr>
          <p:nvPr/>
        </p:nvGrpSpPr>
        <p:grpSpPr>
          <a:xfrm>
            <a:off x="11691131" y="132877"/>
            <a:ext cx="364586" cy="365760"/>
            <a:chOff x="5445632" y="2775204"/>
            <a:chExt cx="1301877" cy="1306068"/>
          </a:xfrm>
        </p:grpSpPr>
        <p:sp>
          <p:nvSpPr>
            <p:cNvPr id="33" name="Freeform 35">
              <a:extLst>
                <a:ext uri="{FF2B5EF4-FFF2-40B4-BE49-F238E27FC236}">
                  <a16:creationId xmlns:a16="http://schemas.microsoft.com/office/drawing/2014/main" xmlns=""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34" name="Freeform 36">
              <a:extLst>
                <a:ext uri="{FF2B5EF4-FFF2-40B4-BE49-F238E27FC236}">
                  <a16:creationId xmlns:a16="http://schemas.microsoft.com/office/drawing/2014/main" xmlns=""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cxnSp>
        <p:nvCxnSpPr>
          <p:cNvPr id="36" name="Straight Connector 35"/>
          <p:cNvCxnSpPr/>
          <p:nvPr/>
        </p:nvCxnSpPr>
        <p:spPr>
          <a:xfrm>
            <a:off x="628553" y="2300436"/>
            <a:ext cx="5323132" cy="0"/>
          </a:xfrm>
          <a:prstGeom prst="line">
            <a:avLst/>
          </a:prstGeom>
          <a:ln w="254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367150" y="1886549"/>
            <a:ext cx="3845938" cy="3561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Enabling sustainable value creation</a:t>
            </a:r>
          </a:p>
        </p:txBody>
      </p:sp>
      <p:cxnSp>
        <p:nvCxnSpPr>
          <p:cNvPr id="40" name="Straight Connector 39"/>
          <p:cNvCxnSpPr/>
          <p:nvPr/>
        </p:nvCxnSpPr>
        <p:spPr>
          <a:xfrm>
            <a:off x="6116220" y="2300436"/>
            <a:ext cx="5346774" cy="0"/>
          </a:xfrm>
          <a:prstGeom prst="line">
            <a:avLst/>
          </a:prstGeom>
          <a:ln w="25400"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043278" y="1886549"/>
            <a:ext cx="3492658" cy="3561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575757"/>
                </a:solidFill>
              </a:rPr>
              <a:t>Generating and capturing value</a:t>
            </a:r>
          </a:p>
        </p:txBody>
      </p:sp>
      <p:cxnSp>
        <p:nvCxnSpPr>
          <p:cNvPr id="43" name="Straight Arrow Connector 42"/>
          <p:cNvCxnSpPr/>
          <p:nvPr/>
        </p:nvCxnSpPr>
        <p:spPr>
          <a:xfrm>
            <a:off x="716437" y="6052008"/>
            <a:ext cx="10633435" cy="0"/>
          </a:xfrm>
          <a:prstGeom prst="straightConnector1">
            <a:avLst/>
          </a:prstGeom>
          <a:ln w="50800" cap="rnd" cmpd="sng" algn="ctr">
            <a:gradFill flip="none" rotWithShape="1">
              <a:gsLst>
                <a:gs pos="0">
                  <a:schemeClr val="accent2">
                    <a:lumMod val="5000"/>
                    <a:lumOff val="95000"/>
                  </a:schemeClr>
                </a:gs>
                <a:gs pos="74000">
                  <a:schemeClr val="tx2"/>
                </a:gs>
                <a:gs pos="83000">
                  <a:schemeClr val="tx2"/>
                </a:gs>
                <a:gs pos="100000">
                  <a:schemeClr val="tx2"/>
                </a:gs>
              </a:gsLst>
              <a:lin ang="0" scaled="1"/>
              <a:tileRect/>
            </a:gra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991022" y="6089715"/>
            <a:ext cx="6084264" cy="2356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Typical process time is 3 to 6 months for new use cases and is highly iterative</a:t>
            </a:r>
          </a:p>
        </p:txBody>
      </p:sp>
    </p:spTree>
    <p:custDataLst>
      <p:tags r:id="rId1"/>
    </p:custDataLst>
    <p:extLst>
      <p:ext uri="{BB962C8B-B14F-4D97-AF65-F5344CB8AC3E}">
        <p14:creationId xmlns:p14="http://schemas.microsoft.com/office/powerpoint/2010/main" val="1837715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ess update</a:t>
            </a:r>
            <a:endParaRPr lang="en-US" dirty="0"/>
          </a:p>
        </p:txBody>
      </p:sp>
    </p:spTree>
    <p:custDataLst>
      <p:tags r:id="rId1"/>
    </p:custDataLst>
    <p:extLst>
      <p:ext uri="{BB962C8B-B14F-4D97-AF65-F5344CB8AC3E}">
        <p14:creationId xmlns:p14="http://schemas.microsoft.com/office/powerpoint/2010/main" val="3392683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5"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941796"/>
          </a:xfrm>
        </p:spPr>
        <p:txBody>
          <a:bodyPr/>
          <a:lstStyle/>
          <a:p>
            <a:r>
              <a:rPr lang="en-US" dirty="0" smtClean="0"/>
              <a:t>Each use case family has been detailed to specific test use cases with clear hypotheses to validate in pilots</a:t>
            </a:r>
            <a:endParaRPr lang="en-US" dirty="0"/>
          </a:p>
        </p:txBody>
      </p:sp>
      <p:sp>
        <p:nvSpPr>
          <p:cNvPr id="3" name="ee4pContent1"/>
          <p:cNvSpPr txBox="1"/>
          <p:nvPr/>
        </p:nvSpPr>
        <p:spPr>
          <a:xfrm>
            <a:off x="1986304"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Unlock a reward </a:t>
            </a:r>
            <a:r>
              <a:rPr lang="en-US" sz="1600" dirty="0">
                <a:solidFill>
                  <a:schemeClr val="tx1">
                    <a:lumMod val="100000"/>
                  </a:schemeClr>
                </a:solidFill>
              </a:rPr>
              <a:t>after </a:t>
            </a:r>
            <a:r>
              <a:rPr lang="en-US" sz="1600" dirty="0" smtClean="0">
                <a:solidFill>
                  <a:schemeClr val="tx1">
                    <a:lumMod val="100000"/>
                  </a:schemeClr>
                </a:solidFill>
              </a:rPr>
              <a:t>a personalized # of visits during a specific period </a:t>
            </a:r>
            <a:r>
              <a:rPr lang="en-US" sz="1600" dirty="0">
                <a:solidFill>
                  <a:schemeClr val="tx1">
                    <a:lumMod val="100000"/>
                  </a:schemeClr>
                </a:solidFill>
              </a:rPr>
              <a:t>of </a:t>
            </a:r>
            <a:r>
              <a:rPr lang="en-US" sz="1600" dirty="0" smtClean="0">
                <a:solidFill>
                  <a:schemeClr val="tx1">
                    <a:lumMod val="100000"/>
                  </a:schemeClr>
                </a:solidFill>
              </a:rPr>
              <a:t>time</a:t>
            </a:r>
          </a:p>
          <a:p>
            <a:pPr marL="215900" lvl="1" indent="-215900">
              <a:buClr>
                <a:schemeClr val="tx2">
                  <a:lumMod val="100000"/>
                </a:schemeClr>
              </a:buClr>
              <a:buSzPct val="100000"/>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Using game dynamics </a:t>
            </a:r>
            <a:r>
              <a:rPr lang="en-US" sz="1600" dirty="0">
                <a:solidFill>
                  <a:schemeClr val="tx1">
                    <a:lumMod val="100000"/>
                  </a:schemeClr>
                </a:solidFill>
              </a:rPr>
              <a:t>to deliver promotions based on individual frequency levels we can increase the </a:t>
            </a:r>
            <a:r>
              <a:rPr lang="en-US" sz="1600" dirty="0" smtClean="0">
                <a:solidFill>
                  <a:schemeClr val="tx1">
                    <a:lumMod val="100000"/>
                  </a:schemeClr>
                </a:solidFill>
              </a:rPr>
              <a:t>customer frequency</a:t>
            </a:r>
          </a:p>
        </p:txBody>
      </p:sp>
      <p:sp>
        <p:nvSpPr>
          <p:cNvPr id="4" name="ee4pContent2"/>
          <p:cNvSpPr txBox="1"/>
          <p:nvPr/>
        </p:nvSpPr>
        <p:spPr>
          <a:xfrm>
            <a:off x="5319990"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Unlock a reward </a:t>
            </a:r>
            <a:r>
              <a:rPr lang="en-US" sz="1600" dirty="0">
                <a:solidFill>
                  <a:schemeClr val="tx1">
                    <a:lumMod val="100000"/>
                  </a:schemeClr>
                </a:solidFill>
              </a:rPr>
              <a:t>after purchasing a </a:t>
            </a:r>
            <a:r>
              <a:rPr lang="en-US" sz="1600" dirty="0" smtClean="0">
                <a:solidFill>
                  <a:schemeClr val="tx1">
                    <a:lumMod val="100000"/>
                  </a:schemeClr>
                </a:solidFill>
              </a:rPr>
              <a:t>personalized set </a:t>
            </a:r>
            <a:r>
              <a:rPr lang="en-US" sz="1600" dirty="0">
                <a:solidFill>
                  <a:schemeClr val="tx1">
                    <a:lumMod val="100000"/>
                  </a:schemeClr>
                </a:solidFill>
              </a:rPr>
              <a:t>of concession </a:t>
            </a:r>
            <a:r>
              <a:rPr lang="en-US" sz="1600" dirty="0" smtClean="0">
                <a:solidFill>
                  <a:schemeClr val="tx1">
                    <a:lumMod val="100000"/>
                  </a:schemeClr>
                </a:solidFill>
              </a:rPr>
              <a:t>products</a:t>
            </a:r>
          </a:p>
          <a:p>
            <a:pPr marL="215900" lvl="1" indent="-215900">
              <a:buClr>
                <a:schemeClr val="tx2">
                  <a:lumMod val="100000"/>
                </a:schemeClr>
              </a:buClr>
              <a:buSzPct val="100000"/>
            </a:pPr>
            <a:endParaRPr lang="en-US" sz="1600" dirty="0" smtClean="0">
              <a:solidFill>
                <a:schemeClr val="tx1">
                  <a:lumMod val="100000"/>
                </a:schemeClr>
              </a:solidFill>
            </a:endParaRPr>
          </a:p>
          <a:p>
            <a:pPr marL="215900" lvl="1" indent="-215900">
              <a:buClr>
                <a:schemeClr val="tx2">
                  <a:lumMod val="100000"/>
                </a:schemeClr>
              </a:buClr>
              <a:buSzPct val="100000"/>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Using game dynamics </a:t>
            </a:r>
            <a:r>
              <a:rPr lang="en-US" sz="1600" dirty="0">
                <a:solidFill>
                  <a:schemeClr val="tx1">
                    <a:lumMod val="100000"/>
                  </a:schemeClr>
                </a:solidFill>
              </a:rPr>
              <a:t>to deliver promotions based on individual consumption </a:t>
            </a:r>
            <a:r>
              <a:rPr lang="en-US" sz="1600" dirty="0" smtClean="0">
                <a:solidFill>
                  <a:schemeClr val="tx1">
                    <a:lumMod val="100000"/>
                  </a:schemeClr>
                </a:solidFill>
              </a:rPr>
              <a:t>patterns we </a:t>
            </a:r>
            <a:r>
              <a:rPr lang="en-US" sz="1600" dirty="0">
                <a:solidFill>
                  <a:schemeClr val="tx1">
                    <a:lumMod val="100000"/>
                  </a:schemeClr>
                </a:solidFill>
              </a:rPr>
              <a:t>can </a:t>
            </a:r>
            <a:r>
              <a:rPr lang="en-US" sz="1600" dirty="0" smtClean="0">
                <a:solidFill>
                  <a:schemeClr val="tx1">
                    <a:lumMod val="100000"/>
                  </a:schemeClr>
                </a:solidFill>
              </a:rPr>
              <a:t>increase basket size of up-sell</a:t>
            </a:r>
            <a:endParaRPr lang="en-US" sz="1600" dirty="0">
              <a:solidFill>
                <a:schemeClr val="tx1">
                  <a:lumMod val="100000"/>
                </a:schemeClr>
              </a:solidFill>
            </a:endParaRPr>
          </a:p>
        </p:txBody>
      </p:sp>
      <p:sp>
        <p:nvSpPr>
          <p:cNvPr id="5" name="ee4pContent3"/>
          <p:cNvSpPr txBox="1"/>
          <p:nvPr/>
        </p:nvSpPr>
        <p:spPr>
          <a:xfrm>
            <a:off x="8655609" y="3854484"/>
            <a:ext cx="2907591"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15900" lvl="1" indent="-215900">
              <a:buClr>
                <a:schemeClr val="tx2">
                  <a:lumMod val="100000"/>
                </a:schemeClr>
              </a:buClr>
              <a:buSzPct val="100000"/>
            </a:pPr>
            <a:r>
              <a:rPr lang="en-US" sz="1600" dirty="0" smtClean="0">
                <a:solidFill>
                  <a:schemeClr val="tx1">
                    <a:lumMod val="100000"/>
                  </a:schemeClr>
                </a:solidFill>
              </a:rPr>
              <a:t>Offer a special </a:t>
            </a:r>
            <a:r>
              <a:rPr lang="en-US" sz="1600" dirty="0">
                <a:solidFill>
                  <a:schemeClr val="tx1">
                    <a:lumMod val="100000"/>
                  </a:schemeClr>
                </a:solidFill>
              </a:rPr>
              <a:t>discount for </a:t>
            </a:r>
            <a:r>
              <a:rPr lang="en-US" sz="1600" dirty="0" smtClean="0">
                <a:solidFill>
                  <a:schemeClr val="tx1">
                    <a:lumMod val="100000"/>
                  </a:schemeClr>
                </a:solidFill>
              </a:rPr>
              <a:t>box office tickets </a:t>
            </a:r>
            <a:r>
              <a:rPr lang="en-US" sz="1600" dirty="0">
                <a:solidFill>
                  <a:schemeClr val="tx1">
                    <a:lumMod val="100000"/>
                  </a:schemeClr>
                </a:solidFill>
              </a:rPr>
              <a:t>during a short period of </a:t>
            </a:r>
            <a:r>
              <a:rPr lang="en-US" sz="1600" dirty="0" smtClean="0">
                <a:solidFill>
                  <a:schemeClr val="tx1">
                    <a:lumMod val="100000"/>
                  </a:schemeClr>
                </a:solidFill>
              </a:rPr>
              <a:t>time</a:t>
            </a:r>
          </a:p>
          <a:p>
            <a:pPr marL="215900" indent="-215900">
              <a:buSzPct val="100000"/>
              <a:buFont typeface="Trebuchet MS" panose="020B0603020202020204" pitchFamily="34" charset="0"/>
              <a:buChar char="​"/>
            </a:pPr>
            <a:endParaRPr lang="en-US" sz="1600" dirty="0" smtClean="0">
              <a:solidFill>
                <a:schemeClr val="tx1">
                  <a:lumMod val="100000"/>
                </a:schemeClr>
              </a:solidFill>
            </a:endParaRPr>
          </a:p>
          <a:p>
            <a:pPr marL="215900" indent="-215900">
              <a:buSzPct val="100000"/>
              <a:buFont typeface="Trebuchet MS" panose="020B0603020202020204" pitchFamily="34" charset="0"/>
              <a:buChar char="​"/>
            </a:pPr>
            <a:endParaRPr lang="en-US" sz="1600" dirty="0">
              <a:solidFill>
                <a:schemeClr val="tx1">
                  <a:lumMod val="100000"/>
                </a:schemeClr>
              </a:solidFill>
            </a:endParaRPr>
          </a:p>
          <a:p>
            <a:pPr marL="215900" lvl="1" indent="-215900">
              <a:buClr>
                <a:schemeClr val="tx2">
                  <a:lumMod val="100000"/>
                </a:schemeClr>
              </a:buClr>
              <a:buSzPct val="100000"/>
            </a:pPr>
            <a:r>
              <a:rPr lang="en-US" sz="1600" dirty="0" smtClean="0">
                <a:solidFill>
                  <a:schemeClr val="tx1">
                    <a:lumMod val="100000"/>
                  </a:schemeClr>
                </a:solidFill>
              </a:rPr>
              <a:t>Delivering short fused offers promoting movies tailored to client preferences can </a:t>
            </a:r>
            <a:r>
              <a:rPr lang="en-US" sz="1600" dirty="0">
                <a:solidFill>
                  <a:schemeClr val="tx1">
                    <a:lumMod val="100000"/>
                  </a:schemeClr>
                </a:solidFill>
              </a:rPr>
              <a:t>drive an additional </a:t>
            </a:r>
            <a:r>
              <a:rPr lang="en-US" sz="1600" dirty="0" smtClean="0">
                <a:solidFill>
                  <a:schemeClr val="tx1">
                    <a:lumMod val="100000"/>
                  </a:schemeClr>
                </a:solidFill>
              </a:rPr>
              <a:t>impulse visit</a:t>
            </a:r>
          </a:p>
        </p:txBody>
      </p:sp>
      <p:sp>
        <p:nvSpPr>
          <p:cNvPr id="6" name="ee4pHeader1"/>
          <p:cNvSpPr txBox="1"/>
          <p:nvPr/>
        </p:nvSpPr>
        <p:spPr>
          <a:xfrm>
            <a:off x="1986304" y="2976084"/>
            <a:ext cx="290759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Frequency challenge</a:t>
            </a:r>
            <a:endParaRPr lang="en-US" sz="2000" dirty="0">
              <a:solidFill>
                <a:schemeClr val="tx2"/>
              </a:solidFill>
            </a:endParaRPr>
          </a:p>
        </p:txBody>
      </p:sp>
      <p:grpSp>
        <p:nvGrpSpPr>
          <p:cNvPr id="9" name="bcgIcons_FeetRightDirection">
            <a:extLst>
              <a:ext uri="{FF2B5EF4-FFF2-40B4-BE49-F238E27FC236}">
                <a16:creationId xmlns:a16="http://schemas.microsoft.com/office/drawing/2014/main" xmlns="" id="{F3BB3F51-84C9-474C-8440-16AA29734127}"/>
              </a:ext>
            </a:extLst>
          </p:cNvPr>
          <p:cNvGrpSpPr>
            <a:grpSpLocks noChangeAspect="1"/>
          </p:cNvGrpSpPr>
          <p:nvPr/>
        </p:nvGrpSpPr>
        <p:grpSpPr bwMode="auto">
          <a:xfrm>
            <a:off x="2879699" y="2336198"/>
            <a:ext cx="1120802" cy="1121840"/>
            <a:chOff x="1682" y="0"/>
            <a:chExt cx="4316" cy="4320"/>
          </a:xfrm>
        </p:grpSpPr>
        <p:sp>
          <p:nvSpPr>
            <p:cNvPr id="10" name="AutoShape 33">
              <a:extLst>
                <a:ext uri="{FF2B5EF4-FFF2-40B4-BE49-F238E27FC236}">
                  <a16:creationId xmlns:a16="http://schemas.microsoft.com/office/drawing/2014/main" xmlns="" id="{F84CCB33-5B1B-4555-90BE-2968D5BD7B8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1" name="Freeform 35">
              <a:extLst>
                <a:ext uri="{FF2B5EF4-FFF2-40B4-BE49-F238E27FC236}">
                  <a16:creationId xmlns:a16="http://schemas.microsoft.com/office/drawing/2014/main" xmlns="" id="{A1DADA48-AD19-4E6F-BDBF-1D8B2ECC8DAC}"/>
                </a:ext>
              </a:extLst>
            </p:cNvPr>
            <p:cNvSpPr>
              <a:spLocks noEditPoints="1"/>
            </p:cNvSpPr>
            <p:nvPr/>
          </p:nvSpPr>
          <p:spPr bwMode="auto">
            <a:xfrm>
              <a:off x="2145" y="1924"/>
              <a:ext cx="3222" cy="1942"/>
            </a:xfrm>
            <a:custGeom>
              <a:avLst/>
              <a:gdLst>
                <a:gd name="T0" fmla="*/ 152 w 1720"/>
                <a:gd name="T1" fmla="*/ 1036 h 1036"/>
                <a:gd name="T2" fmla="*/ 68 w 1720"/>
                <a:gd name="T3" fmla="*/ 1006 h 1036"/>
                <a:gd name="T4" fmla="*/ 2 w 1720"/>
                <a:gd name="T5" fmla="*/ 877 h 1036"/>
                <a:gd name="T6" fmla="*/ 139 w 1720"/>
                <a:gd name="T7" fmla="*/ 651 h 1036"/>
                <a:gd name="T8" fmla="*/ 163 w 1720"/>
                <a:gd name="T9" fmla="*/ 652 h 1036"/>
                <a:gd name="T10" fmla="*/ 371 w 1720"/>
                <a:gd name="T11" fmla="*/ 810 h 1036"/>
                <a:gd name="T12" fmla="*/ 378 w 1720"/>
                <a:gd name="T13" fmla="*/ 836 h 1036"/>
                <a:gd name="T14" fmla="*/ 194 w 1720"/>
                <a:gd name="T15" fmla="*/ 1030 h 1036"/>
                <a:gd name="T16" fmla="*/ 152 w 1720"/>
                <a:gd name="T17" fmla="*/ 1036 h 1036"/>
                <a:gd name="T18" fmla="*/ 149 w 1720"/>
                <a:gd name="T19" fmla="*/ 697 h 1036"/>
                <a:gd name="T20" fmla="*/ 46 w 1720"/>
                <a:gd name="T21" fmla="*/ 879 h 1036"/>
                <a:gd name="T22" fmla="*/ 95 w 1720"/>
                <a:gd name="T23" fmla="*/ 972 h 1036"/>
                <a:gd name="T24" fmla="*/ 182 w 1720"/>
                <a:gd name="T25" fmla="*/ 988 h 1036"/>
                <a:gd name="T26" fmla="*/ 330 w 1720"/>
                <a:gd name="T27" fmla="*/ 834 h 1036"/>
                <a:gd name="T28" fmla="*/ 149 w 1720"/>
                <a:gd name="T29" fmla="*/ 697 h 1036"/>
                <a:gd name="T30" fmla="*/ 445 w 1720"/>
                <a:gd name="T31" fmla="*/ 753 h 1036"/>
                <a:gd name="T32" fmla="*/ 425 w 1720"/>
                <a:gd name="T33" fmla="*/ 741 h 1036"/>
                <a:gd name="T34" fmla="*/ 254 w 1720"/>
                <a:gd name="T35" fmla="*/ 559 h 1036"/>
                <a:gd name="T36" fmla="*/ 245 w 1720"/>
                <a:gd name="T37" fmla="*/ 531 h 1036"/>
                <a:gd name="T38" fmla="*/ 635 w 1720"/>
                <a:gd name="T39" fmla="*/ 189 h 1036"/>
                <a:gd name="T40" fmla="*/ 802 w 1720"/>
                <a:gd name="T41" fmla="*/ 244 h 1036"/>
                <a:gd name="T42" fmla="*/ 675 w 1720"/>
                <a:gd name="T43" fmla="*/ 641 h 1036"/>
                <a:gd name="T44" fmla="*/ 451 w 1720"/>
                <a:gd name="T45" fmla="*/ 752 h 1036"/>
                <a:gd name="T46" fmla="*/ 445 w 1720"/>
                <a:gd name="T47" fmla="*/ 753 h 1036"/>
                <a:gd name="T48" fmla="*/ 293 w 1720"/>
                <a:gd name="T49" fmla="*/ 532 h 1036"/>
                <a:gd name="T50" fmla="*/ 457 w 1720"/>
                <a:gd name="T51" fmla="*/ 705 h 1036"/>
                <a:gd name="T52" fmla="*/ 645 w 1720"/>
                <a:gd name="T53" fmla="*/ 609 h 1036"/>
                <a:gd name="T54" fmla="*/ 768 w 1720"/>
                <a:gd name="T55" fmla="*/ 272 h 1036"/>
                <a:gd name="T56" fmla="*/ 641 w 1720"/>
                <a:gd name="T57" fmla="*/ 233 h 1036"/>
                <a:gd name="T58" fmla="*/ 293 w 1720"/>
                <a:gd name="T59" fmla="*/ 532 h 1036"/>
                <a:gd name="T60" fmla="*/ 1017 w 1720"/>
                <a:gd name="T61" fmla="*/ 925 h 1036"/>
                <a:gd name="T62" fmla="*/ 891 w 1720"/>
                <a:gd name="T63" fmla="*/ 858 h 1036"/>
                <a:gd name="T64" fmla="*/ 868 w 1720"/>
                <a:gd name="T65" fmla="*/ 732 h 1036"/>
                <a:gd name="T66" fmla="*/ 1063 w 1720"/>
                <a:gd name="T67" fmla="*/ 549 h 1036"/>
                <a:gd name="T68" fmla="*/ 1089 w 1720"/>
                <a:gd name="T69" fmla="*/ 556 h 1036"/>
                <a:gd name="T70" fmla="*/ 1246 w 1720"/>
                <a:gd name="T71" fmla="*/ 764 h 1036"/>
                <a:gd name="T72" fmla="*/ 1247 w 1720"/>
                <a:gd name="T73" fmla="*/ 788 h 1036"/>
                <a:gd name="T74" fmla="*/ 1021 w 1720"/>
                <a:gd name="T75" fmla="*/ 924 h 1036"/>
                <a:gd name="T76" fmla="*/ 1017 w 1720"/>
                <a:gd name="T77" fmla="*/ 925 h 1036"/>
                <a:gd name="T78" fmla="*/ 1065 w 1720"/>
                <a:gd name="T79" fmla="*/ 597 h 1036"/>
                <a:gd name="T80" fmla="*/ 911 w 1720"/>
                <a:gd name="T81" fmla="*/ 745 h 1036"/>
                <a:gd name="T82" fmla="*/ 926 w 1720"/>
                <a:gd name="T83" fmla="*/ 831 h 1036"/>
                <a:gd name="T84" fmla="*/ 1019 w 1720"/>
                <a:gd name="T85" fmla="*/ 881 h 1036"/>
                <a:gd name="T86" fmla="*/ 1201 w 1720"/>
                <a:gd name="T87" fmla="*/ 778 h 1036"/>
                <a:gd name="T88" fmla="*/ 1065 w 1720"/>
                <a:gd name="T89" fmla="*/ 597 h 1036"/>
                <a:gd name="T90" fmla="*/ 1358 w 1720"/>
                <a:gd name="T91" fmla="*/ 684 h 1036"/>
                <a:gd name="T92" fmla="*/ 1339 w 1720"/>
                <a:gd name="T93" fmla="*/ 674 h 1036"/>
                <a:gd name="T94" fmla="*/ 1158 w 1720"/>
                <a:gd name="T95" fmla="*/ 501 h 1036"/>
                <a:gd name="T96" fmla="*/ 1147 w 1720"/>
                <a:gd name="T97" fmla="*/ 476 h 1036"/>
                <a:gd name="T98" fmla="*/ 1259 w 1720"/>
                <a:gd name="T99" fmla="*/ 252 h 1036"/>
                <a:gd name="T100" fmla="*/ 1656 w 1720"/>
                <a:gd name="T101" fmla="*/ 126 h 1036"/>
                <a:gd name="T102" fmla="*/ 1710 w 1720"/>
                <a:gd name="T103" fmla="*/ 294 h 1036"/>
                <a:gd name="T104" fmla="*/ 1367 w 1720"/>
                <a:gd name="T105" fmla="*/ 682 h 1036"/>
                <a:gd name="T106" fmla="*/ 1358 w 1720"/>
                <a:gd name="T107" fmla="*/ 684 h 1036"/>
                <a:gd name="T108" fmla="*/ 1194 w 1720"/>
                <a:gd name="T109" fmla="*/ 471 h 1036"/>
                <a:gd name="T110" fmla="*/ 1366 w 1720"/>
                <a:gd name="T111" fmla="*/ 634 h 1036"/>
                <a:gd name="T112" fmla="*/ 1667 w 1720"/>
                <a:gd name="T113" fmla="*/ 288 h 1036"/>
                <a:gd name="T114" fmla="*/ 1628 w 1720"/>
                <a:gd name="T115" fmla="*/ 160 h 1036"/>
                <a:gd name="T116" fmla="*/ 1291 w 1720"/>
                <a:gd name="T117" fmla="*/ 282 h 1036"/>
                <a:gd name="T118" fmla="*/ 1194 w 1720"/>
                <a:gd name="T119" fmla="*/ 471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0" h="1036">
                  <a:moveTo>
                    <a:pt x="152" y="1036"/>
                  </a:moveTo>
                  <a:cubicBezTo>
                    <a:pt x="122" y="1036"/>
                    <a:pt x="94" y="1026"/>
                    <a:pt x="68" y="1006"/>
                  </a:cubicBezTo>
                  <a:cubicBezTo>
                    <a:pt x="23" y="971"/>
                    <a:pt x="0" y="913"/>
                    <a:pt x="2" y="877"/>
                  </a:cubicBezTo>
                  <a:cubicBezTo>
                    <a:pt x="5" y="820"/>
                    <a:pt x="70" y="690"/>
                    <a:pt x="139" y="651"/>
                  </a:cubicBezTo>
                  <a:cubicBezTo>
                    <a:pt x="147" y="647"/>
                    <a:pt x="156" y="647"/>
                    <a:pt x="163" y="652"/>
                  </a:cubicBezTo>
                  <a:cubicBezTo>
                    <a:pt x="371" y="810"/>
                    <a:pt x="371" y="810"/>
                    <a:pt x="371" y="810"/>
                  </a:cubicBezTo>
                  <a:cubicBezTo>
                    <a:pt x="379" y="816"/>
                    <a:pt x="382" y="827"/>
                    <a:pt x="378" y="836"/>
                  </a:cubicBezTo>
                  <a:cubicBezTo>
                    <a:pt x="375" y="843"/>
                    <a:pt x="307" y="996"/>
                    <a:pt x="194" y="1030"/>
                  </a:cubicBezTo>
                  <a:cubicBezTo>
                    <a:pt x="180" y="1034"/>
                    <a:pt x="166" y="1036"/>
                    <a:pt x="152" y="1036"/>
                  </a:cubicBezTo>
                  <a:close/>
                  <a:moveTo>
                    <a:pt x="149" y="697"/>
                  </a:moveTo>
                  <a:cubicBezTo>
                    <a:pt x="99" y="736"/>
                    <a:pt x="48" y="837"/>
                    <a:pt x="46" y="879"/>
                  </a:cubicBezTo>
                  <a:cubicBezTo>
                    <a:pt x="45" y="901"/>
                    <a:pt x="61" y="945"/>
                    <a:pt x="95" y="972"/>
                  </a:cubicBezTo>
                  <a:cubicBezTo>
                    <a:pt x="121" y="992"/>
                    <a:pt x="150" y="997"/>
                    <a:pt x="182" y="988"/>
                  </a:cubicBezTo>
                  <a:cubicBezTo>
                    <a:pt x="256" y="965"/>
                    <a:pt x="311" y="871"/>
                    <a:pt x="330" y="834"/>
                  </a:cubicBezTo>
                  <a:lnTo>
                    <a:pt x="149" y="697"/>
                  </a:lnTo>
                  <a:close/>
                  <a:moveTo>
                    <a:pt x="445" y="753"/>
                  </a:moveTo>
                  <a:cubicBezTo>
                    <a:pt x="437" y="753"/>
                    <a:pt x="429" y="749"/>
                    <a:pt x="425" y="741"/>
                  </a:cubicBezTo>
                  <a:cubicBezTo>
                    <a:pt x="374" y="633"/>
                    <a:pt x="255" y="560"/>
                    <a:pt x="254" y="559"/>
                  </a:cubicBezTo>
                  <a:cubicBezTo>
                    <a:pt x="244" y="553"/>
                    <a:pt x="241" y="541"/>
                    <a:pt x="245" y="531"/>
                  </a:cubicBezTo>
                  <a:cubicBezTo>
                    <a:pt x="339" y="319"/>
                    <a:pt x="508" y="206"/>
                    <a:pt x="635" y="189"/>
                  </a:cubicBezTo>
                  <a:cubicBezTo>
                    <a:pt x="706" y="180"/>
                    <a:pt x="766" y="199"/>
                    <a:pt x="802" y="244"/>
                  </a:cubicBezTo>
                  <a:cubicBezTo>
                    <a:pt x="928" y="399"/>
                    <a:pt x="701" y="616"/>
                    <a:pt x="675" y="641"/>
                  </a:cubicBezTo>
                  <a:cubicBezTo>
                    <a:pt x="600" y="710"/>
                    <a:pt x="457" y="751"/>
                    <a:pt x="451" y="752"/>
                  </a:cubicBezTo>
                  <a:cubicBezTo>
                    <a:pt x="449" y="753"/>
                    <a:pt x="447" y="753"/>
                    <a:pt x="445" y="753"/>
                  </a:cubicBezTo>
                  <a:close/>
                  <a:moveTo>
                    <a:pt x="293" y="532"/>
                  </a:moveTo>
                  <a:cubicBezTo>
                    <a:pt x="328" y="556"/>
                    <a:pt x="409" y="618"/>
                    <a:pt x="457" y="705"/>
                  </a:cubicBezTo>
                  <a:cubicBezTo>
                    <a:pt x="496" y="692"/>
                    <a:pt x="592" y="658"/>
                    <a:pt x="645" y="609"/>
                  </a:cubicBezTo>
                  <a:cubicBezTo>
                    <a:pt x="654" y="600"/>
                    <a:pt x="870" y="397"/>
                    <a:pt x="768" y="272"/>
                  </a:cubicBezTo>
                  <a:cubicBezTo>
                    <a:pt x="742" y="239"/>
                    <a:pt x="696" y="225"/>
                    <a:pt x="641" y="233"/>
                  </a:cubicBezTo>
                  <a:cubicBezTo>
                    <a:pt x="530" y="248"/>
                    <a:pt x="381" y="346"/>
                    <a:pt x="293" y="532"/>
                  </a:cubicBezTo>
                  <a:close/>
                  <a:moveTo>
                    <a:pt x="1017" y="925"/>
                  </a:moveTo>
                  <a:cubicBezTo>
                    <a:pt x="980" y="925"/>
                    <a:pt x="926" y="902"/>
                    <a:pt x="891" y="858"/>
                  </a:cubicBezTo>
                  <a:cubicBezTo>
                    <a:pt x="863" y="821"/>
                    <a:pt x="855" y="777"/>
                    <a:pt x="868" y="732"/>
                  </a:cubicBezTo>
                  <a:cubicBezTo>
                    <a:pt x="903" y="619"/>
                    <a:pt x="1056" y="552"/>
                    <a:pt x="1063" y="549"/>
                  </a:cubicBezTo>
                  <a:cubicBezTo>
                    <a:pt x="1072" y="545"/>
                    <a:pt x="1083" y="548"/>
                    <a:pt x="1089" y="556"/>
                  </a:cubicBezTo>
                  <a:cubicBezTo>
                    <a:pt x="1246" y="764"/>
                    <a:pt x="1246" y="764"/>
                    <a:pt x="1246" y="764"/>
                  </a:cubicBezTo>
                  <a:cubicBezTo>
                    <a:pt x="1251" y="771"/>
                    <a:pt x="1252" y="780"/>
                    <a:pt x="1247" y="788"/>
                  </a:cubicBezTo>
                  <a:cubicBezTo>
                    <a:pt x="1208" y="857"/>
                    <a:pt x="1078" y="922"/>
                    <a:pt x="1021" y="924"/>
                  </a:cubicBezTo>
                  <a:cubicBezTo>
                    <a:pt x="1019" y="925"/>
                    <a:pt x="1018" y="925"/>
                    <a:pt x="1017" y="925"/>
                  </a:cubicBezTo>
                  <a:close/>
                  <a:moveTo>
                    <a:pt x="1065" y="597"/>
                  </a:moveTo>
                  <a:cubicBezTo>
                    <a:pt x="1027" y="616"/>
                    <a:pt x="933" y="670"/>
                    <a:pt x="911" y="745"/>
                  </a:cubicBezTo>
                  <a:cubicBezTo>
                    <a:pt x="901" y="776"/>
                    <a:pt x="906" y="805"/>
                    <a:pt x="926" y="831"/>
                  </a:cubicBezTo>
                  <a:cubicBezTo>
                    <a:pt x="953" y="865"/>
                    <a:pt x="997" y="882"/>
                    <a:pt x="1019" y="881"/>
                  </a:cubicBezTo>
                  <a:cubicBezTo>
                    <a:pt x="1061" y="878"/>
                    <a:pt x="1162" y="828"/>
                    <a:pt x="1201" y="778"/>
                  </a:cubicBezTo>
                  <a:lnTo>
                    <a:pt x="1065" y="597"/>
                  </a:lnTo>
                  <a:close/>
                  <a:moveTo>
                    <a:pt x="1358" y="684"/>
                  </a:moveTo>
                  <a:cubicBezTo>
                    <a:pt x="1351" y="684"/>
                    <a:pt x="1343" y="680"/>
                    <a:pt x="1339" y="674"/>
                  </a:cubicBezTo>
                  <a:cubicBezTo>
                    <a:pt x="1338" y="672"/>
                    <a:pt x="1265" y="553"/>
                    <a:pt x="1158" y="501"/>
                  </a:cubicBezTo>
                  <a:cubicBezTo>
                    <a:pt x="1149" y="497"/>
                    <a:pt x="1144" y="486"/>
                    <a:pt x="1147" y="476"/>
                  </a:cubicBezTo>
                  <a:cubicBezTo>
                    <a:pt x="1148" y="470"/>
                    <a:pt x="1189" y="327"/>
                    <a:pt x="1259" y="252"/>
                  </a:cubicBezTo>
                  <a:cubicBezTo>
                    <a:pt x="1283" y="226"/>
                    <a:pt x="1502" y="0"/>
                    <a:pt x="1656" y="126"/>
                  </a:cubicBezTo>
                  <a:cubicBezTo>
                    <a:pt x="1701" y="163"/>
                    <a:pt x="1720" y="222"/>
                    <a:pt x="1710" y="294"/>
                  </a:cubicBezTo>
                  <a:cubicBezTo>
                    <a:pt x="1693" y="420"/>
                    <a:pt x="1580" y="589"/>
                    <a:pt x="1367" y="682"/>
                  </a:cubicBezTo>
                  <a:cubicBezTo>
                    <a:pt x="1364" y="684"/>
                    <a:pt x="1361" y="684"/>
                    <a:pt x="1358" y="684"/>
                  </a:cubicBezTo>
                  <a:close/>
                  <a:moveTo>
                    <a:pt x="1194" y="471"/>
                  </a:moveTo>
                  <a:cubicBezTo>
                    <a:pt x="1280" y="518"/>
                    <a:pt x="1342" y="599"/>
                    <a:pt x="1366" y="634"/>
                  </a:cubicBezTo>
                  <a:cubicBezTo>
                    <a:pt x="1553" y="547"/>
                    <a:pt x="1651" y="399"/>
                    <a:pt x="1667" y="288"/>
                  </a:cubicBezTo>
                  <a:cubicBezTo>
                    <a:pt x="1674" y="232"/>
                    <a:pt x="1661" y="187"/>
                    <a:pt x="1628" y="160"/>
                  </a:cubicBezTo>
                  <a:cubicBezTo>
                    <a:pt x="1503" y="58"/>
                    <a:pt x="1300" y="273"/>
                    <a:pt x="1291" y="282"/>
                  </a:cubicBezTo>
                  <a:cubicBezTo>
                    <a:pt x="1242" y="335"/>
                    <a:pt x="1207" y="431"/>
                    <a:pt x="1194" y="4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 name="Freeform 36">
              <a:extLst>
                <a:ext uri="{FF2B5EF4-FFF2-40B4-BE49-F238E27FC236}">
                  <a16:creationId xmlns:a16="http://schemas.microsoft.com/office/drawing/2014/main" xmlns="" id="{F041633D-5DD2-4F26-96AC-0FD8EB94A3AE}"/>
                </a:ext>
              </a:extLst>
            </p:cNvPr>
            <p:cNvSpPr>
              <a:spLocks noEditPoints="1"/>
            </p:cNvSpPr>
            <p:nvPr/>
          </p:nvSpPr>
          <p:spPr bwMode="auto">
            <a:xfrm>
              <a:off x="4010" y="392"/>
              <a:ext cx="1739" cy="1607"/>
            </a:xfrm>
            <a:custGeom>
              <a:avLst/>
              <a:gdLst>
                <a:gd name="T0" fmla="*/ 377 w 928"/>
                <a:gd name="T1" fmla="*/ 656 h 857"/>
                <a:gd name="T2" fmla="*/ 194 w 928"/>
                <a:gd name="T3" fmla="*/ 850 h 857"/>
                <a:gd name="T4" fmla="*/ 152 w 928"/>
                <a:gd name="T5" fmla="*/ 857 h 857"/>
                <a:gd name="T6" fmla="*/ 68 w 928"/>
                <a:gd name="T7" fmla="*/ 827 h 857"/>
                <a:gd name="T8" fmla="*/ 2 w 928"/>
                <a:gd name="T9" fmla="*/ 697 h 857"/>
                <a:gd name="T10" fmla="*/ 139 w 928"/>
                <a:gd name="T11" fmla="*/ 471 h 857"/>
                <a:gd name="T12" fmla="*/ 163 w 928"/>
                <a:gd name="T13" fmla="*/ 473 h 857"/>
                <a:gd name="T14" fmla="*/ 370 w 928"/>
                <a:gd name="T15" fmla="*/ 630 h 857"/>
                <a:gd name="T16" fmla="*/ 377 w 928"/>
                <a:gd name="T17" fmla="*/ 656 h 857"/>
                <a:gd name="T18" fmla="*/ 802 w 928"/>
                <a:gd name="T19" fmla="*/ 64 h 857"/>
                <a:gd name="T20" fmla="*/ 635 w 928"/>
                <a:gd name="T21" fmla="*/ 10 h 857"/>
                <a:gd name="T22" fmla="*/ 245 w 928"/>
                <a:gd name="T23" fmla="*/ 352 h 857"/>
                <a:gd name="T24" fmla="*/ 254 w 928"/>
                <a:gd name="T25" fmla="*/ 379 h 857"/>
                <a:gd name="T26" fmla="*/ 425 w 928"/>
                <a:gd name="T27" fmla="*/ 561 h 857"/>
                <a:gd name="T28" fmla="*/ 445 w 928"/>
                <a:gd name="T29" fmla="*/ 574 h 857"/>
                <a:gd name="T30" fmla="*/ 451 w 928"/>
                <a:gd name="T31" fmla="*/ 573 h 857"/>
                <a:gd name="T32" fmla="*/ 675 w 928"/>
                <a:gd name="T33" fmla="*/ 461 h 857"/>
                <a:gd name="T34" fmla="*/ 802 w 928"/>
                <a:gd name="T35" fmla="*/ 6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8" h="857">
                  <a:moveTo>
                    <a:pt x="377" y="656"/>
                  </a:moveTo>
                  <a:cubicBezTo>
                    <a:pt x="374" y="663"/>
                    <a:pt x="307" y="816"/>
                    <a:pt x="194" y="850"/>
                  </a:cubicBezTo>
                  <a:cubicBezTo>
                    <a:pt x="180" y="854"/>
                    <a:pt x="166" y="857"/>
                    <a:pt x="152" y="857"/>
                  </a:cubicBezTo>
                  <a:cubicBezTo>
                    <a:pt x="122" y="857"/>
                    <a:pt x="93" y="846"/>
                    <a:pt x="68" y="827"/>
                  </a:cubicBezTo>
                  <a:cubicBezTo>
                    <a:pt x="23" y="791"/>
                    <a:pt x="0" y="733"/>
                    <a:pt x="2" y="697"/>
                  </a:cubicBezTo>
                  <a:cubicBezTo>
                    <a:pt x="5" y="640"/>
                    <a:pt x="70" y="511"/>
                    <a:pt x="139" y="471"/>
                  </a:cubicBezTo>
                  <a:cubicBezTo>
                    <a:pt x="147" y="467"/>
                    <a:pt x="156" y="467"/>
                    <a:pt x="163" y="473"/>
                  </a:cubicBezTo>
                  <a:cubicBezTo>
                    <a:pt x="370" y="630"/>
                    <a:pt x="370" y="630"/>
                    <a:pt x="370" y="630"/>
                  </a:cubicBezTo>
                  <a:cubicBezTo>
                    <a:pt x="379" y="636"/>
                    <a:pt x="381" y="647"/>
                    <a:pt x="377" y="656"/>
                  </a:cubicBezTo>
                  <a:close/>
                  <a:moveTo>
                    <a:pt x="802" y="64"/>
                  </a:moveTo>
                  <a:cubicBezTo>
                    <a:pt x="766" y="19"/>
                    <a:pt x="706" y="0"/>
                    <a:pt x="635" y="10"/>
                  </a:cubicBezTo>
                  <a:cubicBezTo>
                    <a:pt x="508" y="27"/>
                    <a:pt x="339" y="139"/>
                    <a:pt x="245" y="352"/>
                  </a:cubicBezTo>
                  <a:cubicBezTo>
                    <a:pt x="241" y="362"/>
                    <a:pt x="244" y="374"/>
                    <a:pt x="254" y="379"/>
                  </a:cubicBezTo>
                  <a:cubicBezTo>
                    <a:pt x="255" y="380"/>
                    <a:pt x="374" y="454"/>
                    <a:pt x="425" y="561"/>
                  </a:cubicBezTo>
                  <a:cubicBezTo>
                    <a:pt x="429" y="569"/>
                    <a:pt x="437" y="574"/>
                    <a:pt x="445" y="574"/>
                  </a:cubicBezTo>
                  <a:cubicBezTo>
                    <a:pt x="447" y="574"/>
                    <a:pt x="449" y="573"/>
                    <a:pt x="451" y="573"/>
                  </a:cubicBezTo>
                  <a:cubicBezTo>
                    <a:pt x="457" y="571"/>
                    <a:pt x="600" y="531"/>
                    <a:pt x="675" y="461"/>
                  </a:cubicBezTo>
                  <a:cubicBezTo>
                    <a:pt x="701" y="437"/>
                    <a:pt x="928" y="219"/>
                    <a:pt x="802" y="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7" name="ee4pHeader2"/>
          <p:cNvSpPr txBox="1"/>
          <p:nvPr/>
        </p:nvSpPr>
        <p:spPr>
          <a:xfrm>
            <a:off x="5319990" y="2976084"/>
            <a:ext cx="2907591" cy="759600"/>
          </a:xfrm>
          <a:prstGeom prst="rect">
            <a:avLst/>
          </a:prstGeom>
          <a:noFill/>
          <a:ln cap="rnd">
            <a:noFill/>
          </a:ln>
        </p:spPr>
        <p:txBody>
          <a:bodyPr wrap="square" lIns="0" tIns="0" rIns="0" bIns="0" rtlCol="0" anchor="b" anchorCtr="0">
            <a:noAutofit/>
          </a:bodyPr>
          <a:lstStyle/>
          <a:p>
            <a:pPr marL="0" lvl="3"/>
            <a:r>
              <a:rPr lang="en-US" sz="2000" dirty="0" smtClean="0">
                <a:solidFill>
                  <a:schemeClr val="tx2"/>
                </a:solidFill>
              </a:rPr>
              <a:t>Menu exploration</a:t>
            </a:r>
            <a:endParaRPr lang="en-US" sz="2000" dirty="0">
              <a:solidFill>
                <a:schemeClr val="tx2"/>
              </a:solidFill>
            </a:endParaRPr>
          </a:p>
        </p:txBody>
      </p:sp>
      <p:grpSp>
        <p:nvGrpSpPr>
          <p:cNvPr id="13" name="bcgIcons_Restaurants">
            <a:extLst>
              <a:ext uri="{FF2B5EF4-FFF2-40B4-BE49-F238E27FC236}">
                <a16:creationId xmlns:a16="http://schemas.microsoft.com/office/drawing/2014/main" xmlns="" id="{E8355472-0C0C-41EF-94CC-C092CFC1F1F5}"/>
              </a:ext>
            </a:extLst>
          </p:cNvPr>
          <p:cNvGrpSpPr>
            <a:grpSpLocks noChangeAspect="1"/>
          </p:cNvGrpSpPr>
          <p:nvPr/>
        </p:nvGrpSpPr>
        <p:grpSpPr bwMode="auto">
          <a:xfrm>
            <a:off x="6213385" y="2336198"/>
            <a:ext cx="1120802" cy="1121840"/>
            <a:chOff x="1682" y="0"/>
            <a:chExt cx="4316" cy="4320"/>
          </a:xfrm>
        </p:grpSpPr>
        <p:sp>
          <p:nvSpPr>
            <p:cNvPr id="14" name="AutoShape 3">
              <a:extLst>
                <a:ext uri="{FF2B5EF4-FFF2-40B4-BE49-F238E27FC236}">
                  <a16:creationId xmlns:a16="http://schemas.microsoft.com/office/drawing/2014/main" xmlns="" id="{ED8B2882-B4CE-4ABB-B19C-37CCC1E2C95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5" name="Freeform 5">
              <a:extLst>
                <a:ext uri="{FF2B5EF4-FFF2-40B4-BE49-F238E27FC236}">
                  <a16:creationId xmlns:a16="http://schemas.microsoft.com/office/drawing/2014/main" xmlns="" id="{A655EF46-A4D0-4E41-8CEF-7E7773C18A9B}"/>
                </a:ext>
              </a:extLst>
            </p:cNvPr>
            <p:cNvSpPr>
              <a:spLocks noEditPoints="1"/>
            </p:cNvSpPr>
            <p:nvPr/>
          </p:nvSpPr>
          <p:spPr bwMode="auto">
            <a:xfrm>
              <a:off x="3218" y="752"/>
              <a:ext cx="1637" cy="2820"/>
            </a:xfrm>
            <a:custGeom>
              <a:avLst/>
              <a:gdLst>
                <a:gd name="T0" fmla="*/ 0 w 874"/>
                <a:gd name="T1" fmla="*/ 0 h 1504"/>
                <a:gd name="T2" fmla="*/ 0 w 874"/>
                <a:gd name="T3" fmla="*/ 1504 h 1504"/>
                <a:gd name="T4" fmla="*/ 874 w 874"/>
                <a:gd name="T5" fmla="*/ 1504 h 1504"/>
                <a:gd name="T6" fmla="*/ 874 w 874"/>
                <a:gd name="T7" fmla="*/ 0 h 1504"/>
                <a:gd name="T8" fmla="*/ 0 w 874"/>
                <a:gd name="T9" fmla="*/ 0 h 1504"/>
                <a:gd name="T10" fmla="*/ 189 w 874"/>
                <a:gd name="T11" fmla="*/ 224 h 1504"/>
                <a:gd name="T12" fmla="*/ 439 w 874"/>
                <a:gd name="T13" fmla="*/ 121 h 1504"/>
                <a:gd name="T14" fmla="*/ 688 w 874"/>
                <a:gd name="T15" fmla="*/ 225 h 1504"/>
                <a:gd name="T16" fmla="*/ 791 w 874"/>
                <a:gd name="T17" fmla="*/ 475 h 1504"/>
                <a:gd name="T18" fmla="*/ 438 w 874"/>
                <a:gd name="T19" fmla="*/ 827 h 1504"/>
                <a:gd name="T20" fmla="*/ 189 w 874"/>
                <a:gd name="T21" fmla="*/ 724 h 1504"/>
                <a:gd name="T22" fmla="*/ 87 w 874"/>
                <a:gd name="T23" fmla="*/ 474 h 1504"/>
                <a:gd name="T24" fmla="*/ 189 w 874"/>
                <a:gd name="T25" fmla="*/ 224 h 1504"/>
                <a:gd name="T26" fmla="*/ 791 w 874"/>
                <a:gd name="T27" fmla="*/ 1371 h 1504"/>
                <a:gd name="T28" fmla="*/ 752 w 874"/>
                <a:gd name="T29" fmla="*/ 1410 h 1504"/>
                <a:gd name="T30" fmla="*/ 126 w 874"/>
                <a:gd name="T31" fmla="*/ 1410 h 1504"/>
                <a:gd name="T32" fmla="*/ 87 w 874"/>
                <a:gd name="T33" fmla="*/ 1371 h 1504"/>
                <a:gd name="T34" fmla="*/ 87 w 874"/>
                <a:gd name="T35" fmla="*/ 1371 h 1504"/>
                <a:gd name="T36" fmla="*/ 126 w 874"/>
                <a:gd name="T37" fmla="*/ 1332 h 1504"/>
                <a:gd name="T38" fmla="*/ 752 w 874"/>
                <a:gd name="T39" fmla="*/ 1332 h 1504"/>
                <a:gd name="T40" fmla="*/ 791 w 874"/>
                <a:gd name="T41" fmla="*/ 1371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4" h="1504">
                  <a:moveTo>
                    <a:pt x="0" y="0"/>
                  </a:moveTo>
                  <a:cubicBezTo>
                    <a:pt x="0" y="1504"/>
                    <a:pt x="0" y="1504"/>
                    <a:pt x="0" y="1504"/>
                  </a:cubicBezTo>
                  <a:cubicBezTo>
                    <a:pt x="874" y="1504"/>
                    <a:pt x="874" y="1504"/>
                    <a:pt x="874" y="1504"/>
                  </a:cubicBezTo>
                  <a:cubicBezTo>
                    <a:pt x="874" y="0"/>
                    <a:pt x="874" y="0"/>
                    <a:pt x="874" y="0"/>
                  </a:cubicBezTo>
                  <a:lnTo>
                    <a:pt x="0" y="0"/>
                  </a:lnTo>
                  <a:close/>
                  <a:moveTo>
                    <a:pt x="189" y="224"/>
                  </a:moveTo>
                  <a:cubicBezTo>
                    <a:pt x="255" y="158"/>
                    <a:pt x="344" y="121"/>
                    <a:pt x="439" y="121"/>
                  </a:cubicBezTo>
                  <a:cubicBezTo>
                    <a:pt x="534" y="121"/>
                    <a:pt x="622" y="158"/>
                    <a:pt x="688" y="225"/>
                  </a:cubicBezTo>
                  <a:cubicBezTo>
                    <a:pt x="755" y="291"/>
                    <a:pt x="791" y="380"/>
                    <a:pt x="791" y="475"/>
                  </a:cubicBezTo>
                  <a:cubicBezTo>
                    <a:pt x="790" y="669"/>
                    <a:pt x="631" y="827"/>
                    <a:pt x="438" y="827"/>
                  </a:cubicBezTo>
                  <a:cubicBezTo>
                    <a:pt x="343" y="827"/>
                    <a:pt x="255" y="790"/>
                    <a:pt x="189" y="724"/>
                  </a:cubicBezTo>
                  <a:cubicBezTo>
                    <a:pt x="123" y="657"/>
                    <a:pt x="87" y="569"/>
                    <a:pt x="87" y="474"/>
                  </a:cubicBezTo>
                  <a:cubicBezTo>
                    <a:pt x="87" y="380"/>
                    <a:pt x="123" y="291"/>
                    <a:pt x="189" y="224"/>
                  </a:cubicBezTo>
                  <a:close/>
                  <a:moveTo>
                    <a:pt x="791" y="1371"/>
                  </a:moveTo>
                  <a:cubicBezTo>
                    <a:pt x="791" y="1393"/>
                    <a:pt x="773" y="1410"/>
                    <a:pt x="752" y="1410"/>
                  </a:cubicBezTo>
                  <a:cubicBezTo>
                    <a:pt x="126" y="1410"/>
                    <a:pt x="126" y="1410"/>
                    <a:pt x="126" y="1410"/>
                  </a:cubicBezTo>
                  <a:cubicBezTo>
                    <a:pt x="105" y="1410"/>
                    <a:pt x="87" y="1393"/>
                    <a:pt x="87" y="1371"/>
                  </a:cubicBezTo>
                  <a:cubicBezTo>
                    <a:pt x="87" y="1371"/>
                    <a:pt x="87" y="1371"/>
                    <a:pt x="87" y="1371"/>
                  </a:cubicBezTo>
                  <a:cubicBezTo>
                    <a:pt x="87" y="1349"/>
                    <a:pt x="105" y="1332"/>
                    <a:pt x="126" y="1332"/>
                  </a:cubicBezTo>
                  <a:cubicBezTo>
                    <a:pt x="752" y="1332"/>
                    <a:pt x="752" y="1332"/>
                    <a:pt x="752" y="1332"/>
                  </a:cubicBezTo>
                  <a:cubicBezTo>
                    <a:pt x="773" y="1332"/>
                    <a:pt x="791" y="1349"/>
                    <a:pt x="791" y="13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xmlns="" id="{6E13FD54-A091-46C5-A98C-0D487B92DB2D}"/>
                </a:ext>
              </a:extLst>
            </p:cNvPr>
            <p:cNvSpPr>
              <a:spLocks noEditPoints="1"/>
            </p:cNvSpPr>
            <p:nvPr/>
          </p:nvSpPr>
          <p:spPr bwMode="auto">
            <a:xfrm>
              <a:off x="2645" y="578"/>
              <a:ext cx="2386" cy="3168"/>
            </a:xfrm>
            <a:custGeom>
              <a:avLst/>
              <a:gdLst>
                <a:gd name="T0" fmla="*/ 22 w 1274"/>
                <a:gd name="T1" fmla="*/ 1690 h 1690"/>
                <a:gd name="T2" fmla="*/ 0 w 1274"/>
                <a:gd name="T3" fmla="*/ 22 h 1690"/>
                <a:gd name="T4" fmla="*/ 1252 w 1274"/>
                <a:gd name="T5" fmla="*/ 0 h 1690"/>
                <a:gd name="T6" fmla="*/ 1274 w 1274"/>
                <a:gd name="T7" fmla="*/ 1668 h 1690"/>
                <a:gd name="T8" fmla="*/ 44 w 1274"/>
                <a:gd name="T9" fmla="*/ 1646 h 1690"/>
                <a:gd name="T10" fmla="*/ 1230 w 1274"/>
                <a:gd name="T11" fmla="*/ 44 h 1690"/>
                <a:gd name="T12" fmla="*/ 44 w 1274"/>
                <a:gd name="T13" fmla="*/ 1646 h 1690"/>
                <a:gd name="T14" fmla="*/ 94 w 1274"/>
                <a:gd name="T15" fmla="*/ 93 h 1690"/>
                <a:gd name="T16" fmla="*/ 262 w 1274"/>
                <a:gd name="T17" fmla="*/ 1597 h 1690"/>
                <a:gd name="T18" fmla="*/ 725 w 1274"/>
                <a:gd name="T19" fmla="*/ 475 h 1690"/>
                <a:gd name="T20" fmla="*/ 716 w 1274"/>
                <a:gd name="T21" fmla="*/ 372 h 1690"/>
                <a:gd name="T22" fmla="*/ 697 w 1274"/>
                <a:gd name="T23" fmla="*/ 372 h 1690"/>
                <a:gd name="T24" fmla="*/ 686 w 1274"/>
                <a:gd name="T25" fmla="*/ 520 h 1690"/>
                <a:gd name="T26" fmla="*/ 674 w 1274"/>
                <a:gd name="T27" fmla="*/ 543 h 1690"/>
                <a:gd name="T28" fmla="*/ 663 w 1274"/>
                <a:gd name="T29" fmla="*/ 527 h 1690"/>
                <a:gd name="T30" fmla="*/ 653 w 1274"/>
                <a:gd name="T31" fmla="*/ 396 h 1690"/>
                <a:gd name="T32" fmla="*/ 641 w 1274"/>
                <a:gd name="T33" fmla="*/ 364 h 1690"/>
                <a:gd name="T34" fmla="*/ 630 w 1274"/>
                <a:gd name="T35" fmla="*/ 381 h 1690"/>
                <a:gd name="T36" fmla="*/ 618 w 1274"/>
                <a:gd name="T37" fmla="*/ 526 h 1690"/>
                <a:gd name="T38" fmla="*/ 600 w 1274"/>
                <a:gd name="T39" fmla="*/ 538 h 1690"/>
                <a:gd name="T40" fmla="*/ 594 w 1274"/>
                <a:gd name="T41" fmla="*/ 498 h 1690"/>
                <a:gd name="T42" fmla="*/ 584 w 1274"/>
                <a:gd name="T43" fmla="*/ 373 h 1690"/>
                <a:gd name="T44" fmla="*/ 565 w 1274"/>
                <a:gd name="T45" fmla="*/ 373 h 1690"/>
                <a:gd name="T46" fmla="*/ 559 w 1274"/>
                <a:gd name="T47" fmla="*/ 429 h 1690"/>
                <a:gd name="T48" fmla="*/ 550 w 1274"/>
                <a:gd name="T49" fmla="*/ 592 h 1690"/>
                <a:gd name="T50" fmla="*/ 574 w 1274"/>
                <a:gd name="T51" fmla="*/ 697 h 1690"/>
                <a:gd name="T52" fmla="*/ 612 w 1274"/>
                <a:gd name="T53" fmla="*/ 751 h 1690"/>
                <a:gd name="T54" fmla="*/ 609 w 1274"/>
                <a:gd name="T55" fmla="*/ 845 h 1690"/>
                <a:gd name="T56" fmla="*/ 671 w 1274"/>
                <a:gd name="T57" fmla="*/ 815 h 1690"/>
                <a:gd name="T58" fmla="*/ 684 w 1274"/>
                <a:gd name="T59" fmla="*/ 715 h 1690"/>
                <a:gd name="T60" fmla="*/ 724 w 1274"/>
                <a:gd name="T61" fmla="*/ 676 h 1690"/>
                <a:gd name="T62" fmla="*/ 730 w 1274"/>
                <a:gd name="T63" fmla="*/ 551 h 1690"/>
                <a:gd name="T64" fmla="*/ 936 w 1274"/>
                <a:gd name="T65" fmla="*/ 375 h 1690"/>
                <a:gd name="T66" fmla="*/ 908 w 1274"/>
                <a:gd name="T67" fmla="*/ 367 h 1690"/>
                <a:gd name="T68" fmla="*/ 851 w 1274"/>
                <a:gd name="T69" fmla="*/ 456 h 1690"/>
                <a:gd name="T70" fmla="*/ 816 w 1274"/>
                <a:gd name="T71" fmla="*/ 706 h 1690"/>
                <a:gd name="T72" fmla="*/ 859 w 1274"/>
                <a:gd name="T73" fmla="*/ 754 h 1690"/>
                <a:gd name="T74" fmla="*/ 873 w 1274"/>
                <a:gd name="T75" fmla="*/ 800 h 1690"/>
                <a:gd name="T76" fmla="*/ 940 w 1274"/>
                <a:gd name="T77" fmla="*/ 805 h 1690"/>
                <a:gd name="T78" fmla="*/ 938 w 1274"/>
                <a:gd name="T79" fmla="*/ 394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74" h="1690">
                  <a:moveTo>
                    <a:pt x="1252" y="1690"/>
                  </a:moveTo>
                  <a:cubicBezTo>
                    <a:pt x="22" y="1690"/>
                    <a:pt x="22" y="1690"/>
                    <a:pt x="22" y="1690"/>
                  </a:cubicBezTo>
                  <a:cubicBezTo>
                    <a:pt x="10" y="1690"/>
                    <a:pt x="0" y="1680"/>
                    <a:pt x="0" y="1668"/>
                  </a:cubicBezTo>
                  <a:cubicBezTo>
                    <a:pt x="0" y="22"/>
                    <a:pt x="0" y="22"/>
                    <a:pt x="0" y="22"/>
                  </a:cubicBezTo>
                  <a:cubicBezTo>
                    <a:pt x="0" y="10"/>
                    <a:pt x="10" y="0"/>
                    <a:pt x="22" y="0"/>
                  </a:cubicBezTo>
                  <a:cubicBezTo>
                    <a:pt x="1252" y="0"/>
                    <a:pt x="1252" y="0"/>
                    <a:pt x="1252" y="0"/>
                  </a:cubicBezTo>
                  <a:cubicBezTo>
                    <a:pt x="1264" y="0"/>
                    <a:pt x="1274" y="10"/>
                    <a:pt x="1274" y="22"/>
                  </a:cubicBezTo>
                  <a:cubicBezTo>
                    <a:pt x="1274" y="1668"/>
                    <a:pt x="1274" y="1668"/>
                    <a:pt x="1274" y="1668"/>
                  </a:cubicBezTo>
                  <a:cubicBezTo>
                    <a:pt x="1274" y="1680"/>
                    <a:pt x="1264" y="1690"/>
                    <a:pt x="1252" y="1690"/>
                  </a:cubicBezTo>
                  <a:close/>
                  <a:moveTo>
                    <a:pt x="44" y="1646"/>
                  </a:moveTo>
                  <a:cubicBezTo>
                    <a:pt x="1230" y="1646"/>
                    <a:pt x="1230" y="1646"/>
                    <a:pt x="1230" y="1646"/>
                  </a:cubicBezTo>
                  <a:cubicBezTo>
                    <a:pt x="1230" y="44"/>
                    <a:pt x="1230" y="44"/>
                    <a:pt x="1230" y="44"/>
                  </a:cubicBezTo>
                  <a:cubicBezTo>
                    <a:pt x="44" y="44"/>
                    <a:pt x="44" y="44"/>
                    <a:pt x="44" y="44"/>
                  </a:cubicBezTo>
                  <a:lnTo>
                    <a:pt x="44" y="1646"/>
                  </a:lnTo>
                  <a:close/>
                  <a:moveTo>
                    <a:pt x="262" y="93"/>
                  </a:moveTo>
                  <a:cubicBezTo>
                    <a:pt x="94" y="93"/>
                    <a:pt x="94" y="93"/>
                    <a:pt x="94" y="93"/>
                  </a:cubicBezTo>
                  <a:cubicBezTo>
                    <a:pt x="94" y="1597"/>
                    <a:pt x="94" y="1597"/>
                    <a:pt x="94" y="1597"/>
                  </a:cubicBezTo>
                  <a:cubicBezTo>
                    <a:pt x="262" y="1597"/>
                    <a:pt x="262" y="1597"/>
                    <a:pt x="262" y="1597"/>
                  </a:cubicBezTo>
                  <a:lnTo>
                    <a:pt x="262" y="93"/>
                  </a:lnTo>
                  <a:close/>
                  <a:moveTo>
                    <a:pt x="725" y="475"/>
                  </a:moveTo>
                  <a:cubicBezTo>
                    <a:pt x="723" y="449"/>
                    <a:pt x="721" y="423"/>
                    <a:pt x="719" y="397"/>
                  </a:cubicBezTo>
                  <a:cubicBezTo>
                    <a:pt x="719" y="389"/>
                    <a:pt x="717" y="380"/>
                    <a:pt x="716" y="372"/>
                  </a:cubicBezTo>
                  <a:cubicBezTo>
                    <a:pt x="715" y="368"/>
                    <a:pt x="711" y="365"/>
                    <a:pt x="706" y="364"/>
                  </a:cubicBezTo>
                  <a:cubicBezTo>
                    <a:pt x="702" y="364"/>
                    <a:pt x="699" y="368"/>
                    <a:pt x="697" y="372"/>
                  </a:cubicBezTo>
                  <a:cubicBezTo>
                    <a:pt x="696" y="378"/>
                    <a:pt x="694" y="383"/>
                    <a:pt x="694" y="389"/>
                  </a:cubicBezTo>
                  <a:cubicBezTo>
                    <a:pt x="691" y="432"/>
                    <a:pt x="689" y="477"/>
                    <a:pt x="686" y="520"/>
                  </a:cubicBezTo>
                  <a:cubicBezTo>
                    <a:pt x="685" y="525"/>
                    <a:pt x="685" y="529"/>
                    <a:pt x="684" y="535"/>
                  </a:cubicBezTo>
                  <a:cubicBezTo>
                    <a:pt x="682" y="540"/>
                    <a:pt x="677" y="543"/>
                    <a:pt x="674" y="543"/>
                  </a:cubicBezTo>
                  <a:cubicBezTo>
                    <a:pt x="669" y="543"/>
                    <a:pt x="665" y="539"/>
                    <a:pt x="664" y="534"/>
                  </a:cubicBezTo>
                  <a:cubicBezTo>
                    <a:pt x="663" y="531"/>
                    <a:pt x="663" y="529"/>
                    <a:pt x="663" y="527"/>
                  </a:cubicBezTo>
                  <a:cubicBezTo>
                    <a:pt x="662" y="513"/>
                    <a:pt x="661" y="499"/>
                    <a:pt x="660" y="486"/>
                  </a:cubicBezTo>
                  <a:cubicBezTo>
                    <a:pt x="658" y="456"/>
                    <a:pt x="656" y="426"/>
                    <a:pt x="653" y="396"/>
                  </a:cubicBezTo>
                  <a:cubicBezTo>
                    <a:pt x="652" y="387"/>
                    <a:pt x="650" y="379"/>
                    <a:pt x="648" y="371"/>
                  </a:cubicBezTo>
                  <a:cubicBezTo>
                    <a:pt x="647" y="367"/>
                    <a:pt x="645" y="365"/>
                    <a:pt x="641" y="364"/>
                  </a:cubicBezTo>
                  <a:cubicBezTo>
                    <a:pt x="637" y="364"/>
                    <a:pt x="634" y="367"/>
                    <a:pt x="633" y="370"/>
                  </a:cubicBezTo>
                  <a:cubicBezTo>
                    <a:pt x="631" y="374"/>
                    <a:pt x="631" y="378"/>
                    <a:pt x="630" y="381"/>
                  </a:cubicBezTo>
                  <a:cubicBezTo>
                    <a:pt x="628" y="404"/>
                    <a:pt x="626" y="427"/>
                    <a:pt x="624" y="449"/>
                  </a:cubicBezTo>
                  <a:cubicBezTo>
                    <a:pt x="622" y="475"/>
                    <a:pt x="620" y="500"/>
                    <a:pt x="618" y="526"/>
                  </a:cubicBezTo>
                  <a:cubicBezTo>
                    <a:pt x="617" y="529"/>
                    <a:pt x="616" y="534"/>
                    <a:pt x="614" y="538"/>
                  </a:cubicBezTo>
                  <a:cubicBezTo>
                    <a:pt x="610" y="545"/>
                    <a:pt x="603" y="545"/>
                    <a:pt x="600" y="538"/>
                  </a:cubicBezTo>
                  <a:cubicBezTo>
                    <a:pt x="598" y="533"/>
                    <a:pt x="596" y="528"/>
                    <a:pt x="596" y="523"/>
                  </a:cubicBezTo>
                  <a:cubicBezTo>
                    <a:pt x="595" y="514"/>
                    <a:pt x="595" y="507"/>
                    <a:pt x="594" y="498"/>
                  </a:cubicBezTo>
                  <a:cubicBezTo>
                    <a:pt x="592" y="464"/>
                    <a:pt x="590" y="430"/>
                    <a:pt x="587" y="397"/>
                  </a:cubicBezTo>
                  <a:cubicBezTo>
                    <a:pt x="587" y="389"/>
                    <a:pt x="586" y="381"/>
                    <a:pt x="584" y="373"/>
                  </a:cubicBezTo>
                  <a:cubicBezTo>
                    <a:pt x="583" y="369"/>
                    <a:pt x="580" y="365"/>
                    <a:pt x="575" y="364"/>
                  </a:cubicBezTo>
                  <a:cubicBezTo>
                    <a:pt x="571" y="364"/>
                    <a:pt x="568" y="367"/>
                    <a:pt x="565" y="373"/>
                  </a:cubicBezTo>
                  <a:cubicBezTo>
                    <a:pt x="564" y="377"/>
                    <a:pt x="563" y="381"/>
                    <a:pt x="563" y="385"/>
                  </a:cubicBezTo>
                  <a:cubicBezTo>
                    <a:pt x="561" y="399"/>
                    <a:pt x="560" y="414"/>
                    <a:pt x="559" y="429"/>
                  </a:cubicBezTo>
                  <a:cubicBezTo>
                    <a:pt x="557" y="457"/>
                    <a:pt x="556" y="484"/>
                    <a:pt x="554" y="513"/>
                  </a:cubicBezTo>
                  <a:cubicBezTo>
                    <a:pt x="552" y="539"/>
                    <a:pt x="551" y="565"/>
                    <a:pt x="550" y="592"/>
                  </a:cubicBezTo>
                  <a:cubicBezTo>
                    <a:pt x="550" y="612"/>
                    <a:pt x="550" y="633"/>
                    <a:pt x="551" y="653"/>
                  </a:cubicBezTo>
                  <a:cubicBezTo>
                    <a:pt x="552" y="671"/>
                    <a:pt x="560" y="686"/>
                    <a:pt x="574" y="697"/>
                  </a:cubicBezTo>
                  <a:cubicBezTo>
                    <a:pt x="582" y="703"/>
                    <a:pt x="588" y="710"/>
                    <a:pt x="596" y="715"/>
                  </a:cubicBezTo>
                  <a:cubicBezTo>
                    <a:pt x="609" y="724"/>
                    <a:pt x="613" y="736"/>
                    <a:pt x="612" y="751"/>
                  </a:cubicBezTo>
                  <a:cubicBezTo>
                    <a:pt x="611" y="778"/>
                    <a:pt x="610" y="806"/>
                    <a:pt x="609" y="834"/>
                  </a:cubicBezTo>
                  <a:cubicBezTo>
                    <a:pt x="609" y="838"/>
                    <a:pt x="609" y="841"/>
                    <a:pt x="609" y="845"/>
                  </a:cubicBezTo>
                  <a:cubicBezTo>
                    <a:pt x="629" y="855"/>
                    <a:pt x="651" y="862"/>
                    <a:pt x="673" y="868"/>
                  </a:cubicBezTo>
                  <a:cubicBezTo>
                    <a:pt x="672" y="850"/>
                    <a:pt x="671" y="833"/>
                    <a:pt x="671" y="815"/>
                  </a:cubicBezTo>
                  <a:cubicBezTo>
                    <a:pt x="670" y="793"/>
                    <a:pt x="670" y="770"/>
                    <a:pt x="669" y="746"/>
                  </a:cubicBezTo>
                  <a:cubicBezTo>
                    <a:pt x="669" y="733"/>
                    <a:pt x="673" y="723"/>
                    <a:pt x="684" y="715"/>
                  </a:cubicBezTo>
                  <a:cubicBezTo>
                    <a:pt x="691" y="710"/>
                    <a:pt x="699" y="703"/>
                    <a:pt x="706" y="697"/>
                  </a:cubicBezTo>
                  <a:cubicBezTo>
                    <a:pt x="714" y="692"/>
                    <a:pt x="720" y="684"/>
                    <a:pt x="724" y="676"/>
                  </a:cubicBezTo>
                  <a:cubicBezTo>
                    <a:pt x="730" y="663"/>
                    <a:pt x="732" y="650"/>
                    <a:pt x="732" y="636"/>
                  </a:cubicBezTo>
                  <a:cubicBezTo>
                    <a:pt x="732" y="608"/>
                    <a:pt x="731" y="579"/>
                    <a:pt x="730" y="551"/>
                  </a:cubicBezTo>
                  <a:cubicBezTo>
                    <a:pt x="729" y="526"/>
                    <a:pt x="727" y="500"/>
                    <a:pt x="725" y="475"/>
                  </a:cubicBezTo>
                  <a:close/>
                  <a:moveTo>
                    <a:pt x="936" y="375"/>
                  </a:moveTo>
                  <a:cubicBezTo>
                    <a:pt x="932" y="363"/>
                    <a:pt x="924" y="360"/>
                    <a:pt x="913" y="364"/>
                  </a:cubicBezTo>
                  <a:cubicBezTo>
                    <a:pt x="911" y="365"/>
                    <a:pt x="910" y="366"/>
                    <a:pt x="908" y="367"/>
                  </a:cubicBezTo>
                  <a:cubicBezTo>
                    <a:pt x="898" y="374"/>
                    <a:pt x="890" y="381"/>
                    <a:pt x="883" y="391"/>
                  </a:cubicBezTo>
                  <a:cubicBezTo>
                    <a:pt x="869" y="411"/>
                    <a:pt x="858" y="433"/>
                    <a:pt x="851" y="456"/>
                  </a:cubicBezTo>
                  <a:cubicBezTo>
                    <a:pt x="833" y="508"/>
                    <a:pt x="825" y="561"/>
                    <a:pt x="820" y="615"/>
                  </a:cubicBezTo>
                  <a:cubicBezTo>
                    <a:pt x="818" y="645"/>
                    <a:pt x="817" y="676"/>
                    <a:pt x="816" y="706"/>
                  </a:cubicBezTo>
                  <a:cubicBezTo>
                    <a:pt x="815" y="718"/>
                    <a:pt x="820" y="729"/>
                    <a:pt x="830" y="735"/>
                  </a:cubicBezTo>
                  <a:cubicBezTo>
                    <a:pt x="839" y="743"/>
                    <a:pt x="849" y="749"/>
                    <a:pt x="859" y="754"/>
                  </a:cubicBezTo>
                  <a:cubicBezTo>
                    <a:pt x="867" y="758"/>
                    <a:pt x="871" y="764"/>
                    <a:pt x="872" y="773"/>
                  </a:cubicBezTo>
                  <a:cubicBezTo>
                    <a:pt x="873" y="782"/>
                    <a:pt x="873" y="791"/>
                    <a:pt x="873" y="800"/>
                  </a:cubicBezTo>
                  <a:cubicBezTo>
                    <a:pt x="873" y="816"/>
                    <a:pt x="872" y="832"/>
                    <a:pt x="871" y="848"/>
                  </a:cubicBezTo>
                  <a:cubicBezTo>
                    <a:pt x="896" y="837"/>
                    <a:pt x="919" y="822"/>
                    <a:pt x="940" y="805"/>
                  </a:cubicBezTo>
                  <a:cubicBezTo>
                    <a:pt x="939" y="776"/>
                    <a:pt x="938" y="747"/>
                    <a:pt x="938" y="717"/>
                  </a:cubicBezTo>
                  <a:cubicBezTo>
                    <a:pt x="938" y="610"/>
                    <a:pt x="938" y="502"/>
                    <a:pt x="938" y="394"/>
                  </a:cubicBezTo>
                  <a:cubicBezTo>
                    <a:pt x="938" y="388"/>
                    <a:pt x="937" y="381"/>
                    <a:pt x="936" y="37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8" name="ee4pHeader3"/>
          <p:cNvSpPr txBox="1"/>
          <p:nvPr/>
        </p:nvSpPr>
        <p:spPr>
          <a:xfrm>
            <a:off x="8655609" y="2976084"/>
            <a:ext cx="2907591" cy="759600"/>
          </a:xfrm>
          <a:prstGeom prst="rect">
            <a:avLst/>
          </a:prstGeom>
          <a:noFill/>
          <a:ln cap="rnd">
            <a:noFill/>
          </a:ln>
        </p:spPr>
        <p:txBody>
          <a:bodyPr wrap="square" lIns="0" tIns="0" rIns="0" bIns="0" rtlCol="0" anchor="b" anchorCtr="0">
            <a:noAutofit/>
          </a:bodyPr>
          <a:lstStyle/>
          <a:p>
            <a:pPr marL="0" lvl="3"/>
            <a:r>
              <a:rPr lang="en-US" sz="2000" smtClean="0">
                <a:solidFill>
                  <a:schemeClr val="tx2"/>
                </a:solidFill>
              </a:rPr>
              <a:t>Flash Offers</a:t>
            </a:r>
            <a:endParaRPr lang="en-US" sz="2000" dirty="0">
              <a:solidFill>
                <a:schemeClr val="tx2"/>
              </a:solidFill>
            </a:endParaRPr>
          </a:p>
        </p:txBody>
      </p:sp>
      <p:cxnSp>
        <p:nvCxnSpPr>
          <p:cNvPr id="32" name="Straight Connector 31"/>
          <p:cNvCxnSpPr/>
          <p:nvPr/>
        </p:nvCxnSpPr>
        <p:spPr>
          <a:xfrm>
            <a:off x="1828800" y="3854484"/>
            <a:ext cx="0" cy="1011196"/>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38" name="ee4pContent1"/>
          <p:cNvSpPr txBox="1"/>
          <p:nvPr/>
        </p:nvSpPr>
        <p:spPr>
          <a:xfrm>
            <a:off x="630000" y="3854484"/>
            <a:ext cx="1122600"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i="1" dirty="0" smtClean="0">
                <a:solidFill>
                  <a:srgbClr val="29BA74"/>
                </a:solidFill>
                <a:latin typeface="+mn-lt"/>
              </a:rPr>
              <a:t>Description</a:t>
            </a:r>
          </a:p>
          <a:p>
            <a:pPr lvl="1">
              <a:buClr>
                <a:schemeClr val="tx2">
                  <a:lumMod val="100000"/>
                </a:schemeClr>
              </a:buClr>
              <a:buSzPct val="100000"/>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r>
              <a:rPr lang="en-US" sz="1600" i="1" dirty="0" smtClean="0">
                <a:solidFill>
                  <a:srgbClr val="29BA74"/>
                </a:solidFill>
              </a:rPr>
              <a:t>Hypothesis</a:t>
            </a: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a:p>
            <a:pPr>
              <a:buSzPct val="100000"/>
              <a:buFont typeface="Trebuchet MS" panose="020B0603020202020204" pitchFamily="34" charset="0"/>
              <a:buChar char="​"/>
            </a:pPr>
            <a:endParaRPr lang="en-US" sz="1600" i="1" dirty="0">
              <a:solidFill>
                <a:srgbClr val="29BA74"/>
              </a:solidFill>
            </a:endParaRPr>
          </a:p>
          <a:p>
            <a:pPr>
              <a:buSzPct val="100000"/>
              <a:buFont typeface="Trebuchet MS" panose="020B0603020202020204" pitchFamily="34" charset="0"/>
              <a:buChar char="​"/>
            </a:pPr>
            <a:endParaRPr lang="en-US" sz="1600" i="1" dirty="0" smtClean="0">
              <a:solidFill>
                <a:srgbClr val="29BA74"/>
              </a:solidFill>
            </a:endParaRPr>
          </a:p>
        </p:txBody>
      </p:sp>
      <p:cxnSp>
        <p:nvCxnSpPr>
          <p:cNvPr id="39" name="Straight Connector 38"/>
          <p:cNvCxnSpPr/>
          <p:nvPr/>
        </p:nvCxnSpPr>
        <p:spPr>
          <a:xfrm>
            <a:off x="1828800" y="5064159"/>
            <a:ext cx="0" cy="137124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47" name="AutoShape 3"/>
          <p:cNvSpPr>
            <a:spLocks noChangeAspect="1" noChangeArrowheads="1" noTextEdit="1"/>
          </p:cNvSpPr>
          <p:nvPr/>
        </p:nvSpPr>
        <p:spPr bwMode="auto">
          <a:xfrm>
            <a:off x="10489358" y="2196627"/>
            <a:ext cx="1122056" cy="1120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nvGrpSpPr>
          <p:cNvPr id="54" name="Group 53"/>
          <p:cNvGrpSpPr/>
          <p:nvPr/>
        </p:nvGrpSpPr>
        <p:grpSpPr>
          <a:xfrm>
            <a:off x="9741335" y="2446456"/>
            <a:ext cx="736139" cy="901324"/>
            <a:chOff x="11196031" y="1674854"/>
            <a:chExt cx="736139" cy="901324"/>
          </a:xfrm>
        </p:grpSpPr>
        <p:sp>
          <p:nvSpPr>
            <p:cNvPr id="49" name="Freeform 48"/>
            <p:cNvSpPr>
              <a:spLocks/>
            </p:cNvSpPr>
            <p:nvPr/>
          </p:nvSpPr>
          <p:spPr bwMode="auto">
            <a:xfrm>
              <a:off x="11208298" y="1674854"/>
              <a:ext cx="723872" cy="901324"/>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73152" tIns="36576" rIns="73152" bIns="36576" numCol="1" anchor="t" anchorCtr="0" compatLnSpc="1">
              <a:prstTxWarp prst="textNoShape">
                <a:avLst/>
              </a:prstTxWarp>
              <a:noAutofit/>
            </a:bodyPr>
            <a:lstStyle/>
            <a:p>
              <a:endParaRPr lang="en-US" dirty="0"/>
            </a:p>
          </p:txBody>
        </p:sp>
        <p:sp>
          <p:nvSpPr>
            <p:cNvPr id="50" name="Freeform 49"/>
            <p:cNvSpPr>
              <a:spLocks/>
            </p:cNvSpPr>
            <p:nvPr/>
          </p:nvSpPr>
          <p:spPr bwMode="auto">
            <a:xfrm>
              <a:off x="11251579" y="1895586"/>
              <a:ext cx="637310" cy="637311"/>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rgbClr val="29BA74"/>
            </a:solidFill>
            <a:ln>
              <a:noFill/>
            </a:ln>
          </p:spPr>
          <p:txBody>
            <a:bodyPr vert="horz" wrap="square" lIns="73152" tIns="36576" rIns="73152" bIns="36576" numCol="1" anchor="t" anchorCtr="0" compatLnSpc="1">
              <a:prstTxWarp prst="textNoShape">
                <a:avLst/>
              </a:prstTxWarp>
              <a:noAutofit/>
            </a:bodyPr>
            <a:lstStyle/>
            <a:p>
              <a:endParaRPr lang="en-US" dirty="0"/>
            </a:p>
          </p:txBody>
        </p:sp>
        <p:sp>
          <p:nvSpPr>
            <p:cNvPr id="53" name="Rectangle 52"/>
            <p:cNvSpPr/>
            <p:nvPr/>
          </p:nvSpPr>
          <p:spPr>
            <a:xfrm>
              <a:off x="11397443" y="2038350"/>
              <a:ext cx="364848" cy="23970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3" name="bcgIcons_Sale">
              <a:extLst>
                <a:ext uri="{FF2B5EF4-FFF2-40B4-BE49-F238E27FC236}">
                  <a16:creationId xmlns:a16="http://schemas.microsoft.com/office/drawing/2014/main" xmlns="" id="{564DFB8A-E59E-4C10-98E5-ADC90BF4B7C0}"/>
                </a:ext>
              </a:extLst>
            </p:cNvPr>
            <p:cNvGrpSpPr>
              <a:grpSpLocks noChangeAspect="1"/>
            </p:cNvGrpSpPr>
            <p:nvPr/>
          </p:nvGrpSpPr>
          <p:grpSpPr bwMode="auto">
            <a:xfrm>
              <a:off x="11196031" y="1870105"/>
              <a:ext cx="705418" cy="706073"/>
              <a:chOff x="1682" y="0"/>
              <a:chExt cx="4316" cy="4320"/>
            </a:xfrm>
          </p:grpSpPr>
          <p:sp>
            <p:nvSpPr>
              <p:cNvPr id="44" name="AutoShape 3">
                <a:extLst>
                  <a:ext uri="{FF2B5EF4-FFF2-40B4-BE49-F238E27FC236}">
                    <a16:creationId xmlns:a16="http://schemas.microsoft.com/office/drawing/2014/main" xmlns="" id="{D577EA19-0231-4C1B-A5D2-7AC1B4822E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45" name="Freeform 5">
                <a:extLst>
                  <a:ext uri="{FF2B5EF4-FFF2-40B4-BE49-F238E27FC236}">
                    <a16:creationId xmlns:a16="http://schemas.microsoft.com/office/drawing/2014/main" xmlns="" id="{7FF95ECB-C8E3-4C8D-B2B2-47F5C123961A}"/>
                  </a:ext>
                </a:extLst>
              </p:cNvPr>
              <p:cNvSpPr>
                <a:spLocks noEditPoints="1"/>
              </p:cNvSpPr>
              <p:nvPr/>
            </p:nvSpPr>
            <p:spPr bwMode="auto">
              <a:xfrm>
                <a:off x="2394" y="677"/>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46" name="Freeform 6">
                <a:extLst>
                  <a:ext uri="{FF2B5EF4-FFF2-40B4-BE49-F238E27FC236}">
                    <a16:creationId xmlns:a16="http://schemas.microsoft.com/office/drawing/2014/main" xmlns="" id="{45C49935-0D7D-4E8A-B347-75ECBE6F51A6}"/>
                  </a:ext>
                </a:extLst>
              </p:cNvPr>
              <p:cNvSpPr>
                <a:spLocks noEditPoints="1"/>
              </p:cNvSpPr>
              <p:nvPr/>
            </p:nvSpPr>
            <p:spPr bwMode="auto">
              <a:xfrm>
                <a:off x="2589" y="849"/>
                <a:ext cx="2527" cy="2601"/>
              </a:xfrm>
              <a:custGeom>
                <a:avLst/>
                <a:gdLst>
                  <a:gd name="T0" fmla="*/ 524 w 1349"/>
                  <a:gd name="T1" fmla="*/ 640 h 1387"/>
                  <a:gd name="T2" fmla="*/ 520 w 1349"/>
                  <a:gd name="T3" fmla="*/ 541 h 1387"/>
                  <a:gd name="T4" fmla="*/ 571 w 1349"/>
                  <a:gd name="T5" fmla="*/ 519 h 1387"/>
                  <a:gd name="T6" fmla="*/ 619 w 1349"/>
                  <a:gd name="T7" fmla="*/ 537 h 1387"/>
                  <a:gd name="T8" fmla="*/ 641 w 1349"/>
                  <a:gd name="T9" fmla="*/ 586 h 1387"/>
                  <a:gd name="T10" fmla="*/ 622 w 1349"/>
                  <a:gd name="T11" fmla="*/ 636 h 1387"/>
                  <a:gd name="T12" fmla="*/ 524 w 1349"/>
                  <a:gd name="T13" fmla="*/ 640 h 1387"/>
                  <a:gd name="T14" fmla="*/ 589 w 1349"/>
                  <a:gd name="T15" fmla="*/ 955 h 1387"/>
                  <a:gd name="T16" fmla="*/ 537 w 1349"/>
                  <a:gd name="T17" fmla="*/ 977 h 1387"/>
                  <a:gd name="T18" fmla="*/ 519 w 1349"/>
                  <a:gd name="T19" fmla="*/ 1028 h 1387"/>
                  <a:gd name="T20" fmla="*/ 541 w 1349"/>
                  <a:gd name="T21" fmla="*/ 1076 h 1387"/>
                  <a:gd name="T22" fmla="*/ 640 w 1349"/>
                  <a:gd name="T23" fmla="*/ 1072 h 1387"/>
                  <a:gd name="T24" fmla="*/ 636 w 1349"/>
                  <a:gd name="T25" fmla="*/ 974 h 1387"/>
                  <a:gd name="T26" fmla="*/ 589 w 1349"/>
                  <a:gd name="T27" fmla="*/ 955 h 1387"/>
                  <a:gd name="T28" fmla="*/ 1349 w 1349"/>
                  <a:gd name="T29" fmla="*/ 292 h 1387"/>
                  <a:gd name="T30" fmla="*/ 1263 w 1349"/>
                  <a:gd name="T31" fmla="*/ 669 h 1387"/>
                  <a:gd name="T32" fmla="*/ 598 w 1349"/>
                  <a:gd name="T33" fmla="*/ 1387 h 1387"/>
                  <a:gd name="T34" fmla="*/ 0 w 1349"/>
                  <a:gd name="T35" fmla="*/ 833 h 1387"/>
                  <a:gd name="T36" fmla="*/ 665 w 1349"/>
                  <a:gd name="T37" fmla="*/ 115 h 1387"/>
                  <a:gd name="T38" fmla="*/ 1035 w 1349"/>
                  <a:gd name="T39" fmla="*/ 0 h 1387"/>
                  <a:gd name="T40" fmla="*/ 1349 w 1349"/>
                  <a:gd name="T41" fmla="*/ 292 h 1387"/>
                  <a:gd name="T42" fmla="*/ 494 w 1349"/>
                  <a:gd name="T43" fmla="*/ 672 h 1387"/>
                  <a:gd name="T44" fmla="*/ 571 w 1349"/>
                  <a:gd name="T45" fmla="*/ 703 h 1387"/>
                  <a:gd name="T46" fmla="*/ 655 w 1349"/>
                  <a:gd name="T47" fmla="*/ 666 h 1387"/>
                  <a:gd name="T48" fmla="*/ 685 w 1349"/>
                  <a:gd name="T49" fmla="*/ 584 h 1387"/>
                  <a:gd name="T50" fmla="*/ 649 w 1349"/>
                  <a:gd name="T51" fmla="*/ 505 h 1387"/>
                  <a:gd name="T52" fmla="*/ 567 w 1349"/>
                  <a:gd name="T53" fmla="*/ 475 h 1387"/>
                  <a:gd name="T54" fmla="*/ 488 w 1349"/>
                  <a:gd name="T55" fmla="*/ 511 h 1387"/>
                  <a:gd name="T56" fmla="*/ 494 w 1349"/>
                  <a:gd name="T57" fmla="*/ 672 h 1387"/>
                  <a:gd name="T58" fmla="*/ 666 w 1349"/>
                  <a:gd name="T59" fmla="*/ 941 h 1387"/>
                  <a:gd name="T60" fmla="*/ 505 w 1349"/>
                  <a:gd name="T61" fmla="*/ 947 h 1387"/>
                  <a:gd name="T62" fmla="*/ 475 w 1349"/>
                  <a:gd name="T63" fmla="*/ 1029 h 1387"/>
                  <a:gd name="T64" fmla="*/ 511 w 1349"/>
                  <a:gd name="T65" fmla="*/ 1108 h 1387"/>
                  <a:gd name="T66" fmla="*/ 589 w 1349"/>
                  <a:gd name="T67" fmla="*/ 1139 h 1387"/>
                  <a:gd name="T68" fmla="*/ 593 w 1349"/>
                  <a:gd name="T69" fmla="*/ 1139 h 1387"/>
                  <a:gd name="T70" fmla="*/ 672 w 1349"/>
                  <a:gd name="T71" fmla="*/ 1102 h 1387"/>
                  <a:gd name="T72" fmla="*/ 666 w 1349"/>
                  <a:gd name="T73" fmla="*/ 941 h 1387"/>
                  <a:gd name="T74" fmla="*/ 945 w 1349"/>
                  <a:gd name="T75" fmla="*/ 766 h 1387"/>
                  <a:gd name="T76" fmla="*/ 921 w 1349"/>
                  <a:gd name="T77" fmla="*/ 746 h 1387"/>
                  <a:gd name="T78" fmla="*/ 248 w 1349"/>
                  <a:gd name="T79" fmla="*/ 809 h 1387"/>
                  <a:gd name="T80" fmla="*/ 228 w 1349"/>
                  <a:gd name="T81" fmla="*/ 833 h 1387"/>
                  <a:gd name="T82" fmla="*/ 250 w 1349"/>
                  <a:gd name="T83" fmla="*/ 853 h 1387"/>
                  <a:gd name="T84" fmla="*/ 252 w 1349"/>
                  <a:gd name="T85" fmla="*/ 853 h 1387"/>
                  <a:gd name="T86" fmla="*/ 925 w 1349"/>
                  <a:gd name="T87" fmla="*/ 790 h 1387"/>
                  <a:gd name="T88" fmla="*/ 945 w 1349"/>
                  <a:gd name="T89" fmla="*/ 766 h 1387"/>
                  <a:gd name="T90" fmla="*/ 1137 w 1349"/>
                  <a:gd name="T91" fmla="*/ 206 h 1387"/>
                  <a:gd name="T92" fmla="*/ 1018 w 1349"/>
                  <a:gd name="T93" fmla="*/ 210 h 1387"/>
                  <a:gd name="T94" fmla="*/ 1023 w 1349"/>
                  <a:gd name="T95" fmla="*/ 329 h 1387"/>
                  <a:gd name="T96" fmla="*/ 1141 w 1349"/>
                  <a:gd name="T97" fmla="*/ 325 h 1387"/>
                  <a:gd name="T98" fmla="*/ 1137 w 1349"/>
                  <a:gd name="T99" fmla="*/ 206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9" h="1387">
                    <a:moveTo>
                      <a:pt x="524" y="640"/>
                    </a:moveTo>
                    <a:cubicBezTo>
                      <a:pt x="495" y="614"/>
                      <a:pt x="494" y="569"/>
                      <a:pt x="520" y="541"/>
                    </a:cubicBezTo>
                    <a:cubicBezTo>
                      <a:pt x="534" y="526"/>
                      <a:pt x="552" y="519"/>
                      <a:pt x="571" y="519"/>
                    </a:cubicBezTo>
                    <a:cubicBezTo>
                      <a:pt x="588" y="519"/>
                      <a:pt x="605" y="525"/>
                      <a:pt x="619" y="537"/>
                    </a:cubicBezTo>
                    <a:cubicBezTo>
                      <a:pt x="632" y="550"/>
                      <a:pt x="640" y="567"/>
                      <a:pt x="641" y="586"/>
                    </a:cubicBezTo>
                    <a:cubicBezTo>
                      <a:pt x="642" y="605"/>
                      <a:pt x="635" y="623"/>
                      <a:pt x="622" y="636"/>
                    </a:cubicBezTo>
                    <a:cubicBezTo>
                      <a:pt x="596" y="665"/>
                      <a:pt x="552" y="666"/>
                      <a:pt x="524" y="640"/>
                    </a:cubicBezTo>
                    <a:close/>
                    <a:moveTo>
                      <a:pt x="589" y="955"/>
                    </a:moveTo>
                    <a:cubicBezTo>
                      <a:pt x="570" y="955"/>
                      <a:pt x="551" y="962"/>
                      <a:pt x="537" y="977"/>
                    </a:cubicBezTo>
                    <a:cubicBezTo>
                      <a:pt x="525" y="991"/>
                      <a:pt x="518" y="1009"/>
                      <a:pt x="519" y="1028"/>
                    </a:cubicBezTo>
                    <a:cubicBezTo>
                      <a:pt x="519" y="1046"/>
                      <a:pt x="527" y="1064"/>
                      <a:pt x="541" y="1076"/>
                    </a:cubicBezTo>
                    <a:cubicBezTo>
                      <a:pt x="569" y="1102"/>
                      <a:pt x="614" y="1101"/>
                      <a:pt x="640" y="1072"/>
                    </a:cubicBezTo>
                    <a:cubicBezTo>
                      <a:pt x="666" y="1044"/>
                      <a:pt x="665" y="1000"/>
                      <a:pt x="636" y="974"/>
                    </a:cubicBezTo>
                    <a:cubicBezTo>
                      <a:pt x="623" y="961"/>
                      <a:pt x="606" y="955"/>
                      <a:pt x="589" y="955"/>
                    </a:cubicBezTo>
                    <a:close/>
                    <a:moveTo>
                      <a:pt x="1349" y="292"/>
                    </a:moveTo>
                    <a:cubicBezTo>
                      <a:pt x="1263" y="669"/>
                      <a:pt x="1263" y="669"/>
                      <a:pt x="1263" y="669"/>
                    </a:cubicBezTo>
                    <a:cubicBezTo>
                      <a:pt x="598" y="1387"/>
                      <a:pt x="598" y="1387"/>
                      <a:pt x="598" y="1387"/>
                    </a:cubicBezTo>
                    <a:cubicBezTo>
                      <a:pt x="0" y="833"/>
                      <a:pt x="0" y="833"/>
                      <a:pt x="0" y="833"/>
                    </a:cubicBezTo>
                    <a:cubicBezTo>
                      <a:pt x="665" y="115"/>
                      <a:pt x="665" y="115"/>
                      <a:pt x="665" y="115"/>
                    </a:cubicBezTo>
                    <a:cubicBezTo>
                      <a:pt x="1035" y="0"/>
                      <a:pt x="1035" y="0"/>
                      <a:pt x="1035" y="0"/>
                    </a:cubicBezTo>
                    <a:lnTo>
                      <a:pt x="1349" y="292"/>
                    </a:lnTo>
                    <a:close/>
                    <a:moveTo>
                      <a:pt x="494" y="672"/>
                    </a:moveTo>
                    <a:cubicBezTo>
                      <a:pt x="516" y="693"/>
                      <a:pt x="543" y="703"/>
                      <a:pt x="571" y="703"/>
                    </a:cubicBezTo>
                    <a:cubicBezTo>
                      <a:pt x="602" y="703"/>
                      <a:pt x="632" y="690"/>
                      <a:pt x="655" y="666"/>
                    </a:cubicBezTo>
                    <a:cubicBezTo>
                      <a:pt x="675" y="644"/>
                      <a:pt x="686" y="615"/>
                      <a:pt x="685" y="584"/>
                    </a:cubicBezTo>
                    <a:cubicBezTo>
                      <a:pt x="684" y="554"/>
                      <a:pt x="671" y="526"/>
                      <a:pt x="649" y="505"/>
                    </a:cubicBezTo>
                    <a:cubicBezTo>
                      <a:pt x="626" y="484"/>
                      <a:pt x="597" y="474"/>
                      <a:pt x="567" y="475"/>
                    </a:cubicBezTo>
                    <a:cubicBezTo>
                      <a:pt x="536" y="476"/>
                      <a:pt x="508" y="489"/>
                      <a:pt x="488" y="511"/>
                    </a:cubicBezTo>
                    <a:cubicBezTo>
                      <a:pt x="445" y="557"/>
                      <a:pt x="448" y="630"/>
                      <a:pt x="494" y="672"/>
                    </a:cubicBezTo>
                    <a:close/>
                    <a:moveTo>
                      <a:pt x="666" y="941"/>
                    </a:moveTo>
                    <a:cubicBezTo>
                      <a:pt x="620" y="899"/>
                      <a:pt x="548" y="901"/>
                      <a:pt x="505" y="947"/>
                    </a:cubicBezTo>
                    <a:cubicBezTo>
                      <a:pt x="484" y="970"/>
                      <a:pt x="474" y="999"/>
                      <a:pt x="475" y="1029"/>
                    </a:cubicBezTo>
                    <a:cubicBezTo>
                      <a:pt x="476" y="1060"/>
                      <a:pt x="489" y="1088"/>
                      <a:pt x="511" y="1108"/>
                    </a:cubicBezTo>
                    <a:cubicBezTo>
                      <a:pt x="532" y="1128"/>
                      <a:pt x="560" y="1139"/>
                      <a:pt x="589" y="1139"/>
                    </a:cubicBezTo>
                    <a:cubicBezTo>
                      <a:pt x="590" y="1139"/>
                      <a:pt x="592" y="1139"/>
                      <a:pt x="593" y="1139"/>
                    </a:cubicBezTo>
                    <a:cubicBezTo>
                      <a:pt x="623" y="1138"/>
                      <a:pt x="652" y="1125"/>
                      <a:pt x="672" y="1102"/>
                    </a:cubicBezTo>
                    <a:cubicBezTo>
                      <a:pt x="715" y="1056"/>
                      <a:pt x="712" y="984"/>
                      <a:pt x="666" y="941"/>
                    </a:cubicBezTo>
                    <a:close/>
                    <a:moveTo>
                      <a:pt x="945" y="766"/>
                    </a:moveTo>
                    <a:cubicBezTo>
                      <a:pt x="944" y="754"/>
                      <a:pt x="933" y="745"/>
                      <a:pt x="921" y="746"/>
                    </a:cubicBezTo>
                    <a:cubicBezTo>
                      <a:pt x="248" y="809"/>
                      <a:pt x="248" y="809"/>
                      <a:pt x="248" y="809"/>
                    </a:cubicBezTo>
                    <a:cubicBezTo>
                      <a:pt x="236" y="810"/>
                      <a:pt x="227" y="821"/>
                      <a:pt x="228" y="833"/>
                    </a:cubicBezTo>
                    <a:cubicBezTo>
                      <a:pt x="229" y="845"/>
                      <a:pt x="239" y="853"/>
                      <a:pt x="250" y="853"/>
                    </a:cubicBezTo>
                    <a:cubicBezTo>
                      <a:pt x="251" y="853"/>
                      <a:pt x="251" y="853"/>
                      <a:pt x="252" y="853"/>
                    </a:cubicBezTo>
                    <a:cubicBezTo>
                      <a:pt x="925" y="790"/>
                      <a:pt x="925" y="790"/>
                      <a:pt x="925" y="790"/>
                    </a:cubicBezTo>
                    <a:cubicBezTo>
                      <a:pt x="937" y="789"/>
                      <a:pt x="946" y="778"/>
                      <a:pt x="945" y="766"/>
                    </a:cubicBezTo>
                    <a:close/>
                    <a:moveTo>
                      <a:pt x="1137" y="206"/>
                    </a:moveTo>
                    <a:cubicBezTo>
                      <a:pt x="1103" y="174"/>
                      <a:pt x="1050" y="176"/>
                      <a:pt x="1018" y="210"/>
                    </a:cubicBezTo>
                    <a:cubicBezTo>
                      <a:pt x="987" y="244"/>
                      <a:pt x="989" y="298"/>
                      <a:pt x="1023" y="329"/>
                    </a:cubicBezTo>
                    <a:cubicBezTo>
                      <a:pt x="1057" y="361"/>
                      <a:pt x="1110" y="359"/>
                      <a:pt x="1141" y="325"/>
                    </a:cubicBezTo>
                    <a:cubicBezTo>
                      <a:pt x="1173" y="290"/>
                      <a:pt x="1171" y="237"/>
                      <a:pt x="1137" y="206"/>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sp>
        <p:nvSpPr>
          <p:cNvPr id="17" name="Rectangle 16"/>
          <p:cNvSpPr/>
          <p:nvPr/>
        </p:nvSpPr>
        <p:spPr>
          <a:xfrm>
            <a:off x="1921039" y="2336198"/>
            <a:ext cx="2916294" cy="4099202"/>
          </a:xfrm>
          <a:prstGeom prst="rect">
            <a:avLst/>
          </a:prstGeom>
          <a:noFill/>
          <a:ln w="25400"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1" name="TextBox 20"/>
          <p:cNvSpPr txBox="1"/>
          <p:nvPr/>
        </p:nvSpPr>
        <p:spPr>
          <a:xfrm>
            <a:off x="2073897" y="1894788"/>
            <a:ext cx="2667785" cy="4414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E71C57"/>
                </a:solidFill>
              </a:rPr>
              <a:t>Today's discussion topic</a:t>
            </a:r>
          </a:p>
        </p:txBody>
      </p:sp>
    </p:spTree>
    <p:custDataLst>
      <p:tags r:id="rId2"/>
    </p:custDataLst>
    <p:extLst>
      <p:ext uri="{BB962C8B-B14F-4D97-AF65-F5344CB8AC3E}">
        <p14:creationId xmlns:p14="http://schemas.microsoft.com/office/powerpoint/2010/main" val="3520169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Customer </a:t>
            </a:r>
            <a:r>
              <a:rPr lang="en-US" dirty="0" smtClean="0"/>
              <a:t>clustering is to improve our understanding of customer behavior for the next frequency challenge</a:t>
            </a:r>
            <a:endParaRPr lang="en-US" dirty="0"/>
          </a:p>
        </p:txBody>
      </p:sp>
      <p:sp>
        <p:nvSpPr>
          <p:cNvPr id="4" name="ee4pContent1"/>
          <p:cNvSpPr txBox="1"/>
          <p:nvPr/>
        </p:nvSpPr>
        <p:spPr>
          <a:xfrm>
            <a:off x="1725104" y="2955599"/>
            <a:ext cx="3899935"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Customers are grouped into similar behavior segments on multiple dimensions</a:t>
            </a:r>
          </a:p>
          <a:p>
            <a:endParaRPr lang="en-US" dirty="0">
              <a:latin typeface="+mn-lt"/>
            </a:endParaRPr>
          </a:p>
          <a:p>
            <a:r>
              <a:rPr lang="en-US" dirty="0" smtClean="0">
                <a:latin typeface="+mn-lt"/>
              </a:rPr>
              <a:t>Each segment receives a distinct score for concession/frequency preference</a:t>
            </a:r>
          </a:p>
          <a:p>
            <a:pPr>
              <a:buNone/>
            </a:pPr>
            <a:endParaRPr lang="en-US" dirty="0" smtClean="0">
              <a:latin typeface="+mn-lt"/>
            </a:endParaRPr>
          </a:p>
          <a:p>
            <a:r>
              <a:rPr lang="en-US" dirty="0" smtClean="0">
                <a:latin typeface="+mn-lt"/>
              </a:rPr>
              <a:t>Each individual receives a sub-segment score based on recent behavior</a:t>
            </a:r>
            <a:endParaRPr lang="en-US" dirty="0">
              <a:latin typeface="+mn-lt"/>
            </a:endParaRPr>
          </a:p>
        </p:txBody>
      </p:sp>
      <p:sp>
        <p:nvSpPr>
          <p:cNvPr id="5" name="ee4pContent2"/>
          <p:cNvSpPr txBox="1"/>
          <p:nvPr/>
        </p:nvSpPr>
        <p:spPr>
          <a:xfrm>
            <a:off x="7678681" y="2955599"/>
            <a:ext cx="3884518" cy="2912400"/>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smtClean="0">
                <a:latin typeface="+mn-lt"/>
              </a:rPr>
              <a:t>Well defined clusters allow us to target creatives and offers to each group in a sustainable way</a:t>
            </a:r>
          </a:p>
          <a:p>
            <a:endParaRPr lang="en-US" dirty="0">
              <a:latin typeface="+mn-lt"/>
            </a:endParaRPr>
          </a:p>
          <a:p>
            <a:r>
              <a:rPr lang="en-US" dirty="0" smtClean="0">
                <a:latin typeface="+mn-lt"/>
              </a:rPr>
              <a:t>Preferences drive marketing personalization through better targeting</a:t>
            </a:r>
          </a:p>
          <a:p>
            <a:endParaRPr lang="en-US" dirty="0">
              <a:latin typeface="+mn-lt"/>
            </a:endParaRPr>
          </a:p>
          <a:p>
            <a:r>
              <a:rPr lang="en-US" dirty="0" smtClean="0">
                <a:latin typeface="+mn-lt"/>
              </a:rPr>
              <a:t>Sub-segment scores can be used to test the impact of recent behaviors on offer acceptance</a:t>
            </a:r>
            <a:endParaRPr lang="en-US" dirty="0">
              <a:latin typeface="+mn-lt"/>
            </a:endParaRPr>
          </a:p>
        </p:txBody>
      </p:sp>
      <p:sp>
        <p:nvSpPr>
          <p:cNvPr id="6" name="ee4pHeader1"/>
          <p:cNvSpPr txBox="1"/>
          <p:nvPr/>
        </p:nvSpPr>
        <p:spPr>
          <a:xfrm>
            <a:off x="629400" y="2077151"/>
            <a:ext cx="4995640" cy="759600"/>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Clustering provides insight into how customers organically behave…</a:t>
            </a:r>
            <a:endParaRPr lang="en-US" sz="2400" dirty="0">
              <a:solidFill>
                <a:schemeClr val="tx2"/>
              </a:solidFill>
            </a:endParaRPr>
          </a:p>
        </p:txBody>
      </p:sp>
      <p:sp>
        <p:nvSpPr>
          <p:cNvPr id="7" name="ee4pHeader2"/>
          <p:cNvSpPr txBox="1"/>
          <p:nvPr/>
        </p:nvSpPr>
        <p:spPr>
          <a:xfrm>
            <a:off x="6567560" y="2077151"/>
            <a:ext cx="4995640" cy="759600"/>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so we can drive business value through improved offers/targeting</a:t>
            </a:r>
            <a:endParaRPr lang="en-US" sz="2400" dirty="0">
              <a:solidFill>
                <a:schemeClr val="tx2"/>
              </a:solidFill>
            </a:endParaRPr>
          </a:p>
        </p:txBody>
      </p:sp>
      <p:grpSp>
        <p:nvGrpSpPr>
          <p:cNvPr id="8" name="Group 7"/>
          <p:cNvGrpSpPr/>
          <p:nvPr/>
        </p:nvGrpSpPr>
        <p:grpSpPr>
          <a:xfrm>
            <a:off x="5942914" y="2081213"/>
            <a:ext cx="306171" cy="4079081"/>
            <a:chOff x="5942914" y="2081213"/>
            <a:chExt cx="306171" cy="4079081"/>
          </a:xfrm>
        </p:grpSpPr>
        <p:cxnSp>
          <p:nvCxnSpPr>
            <p:cNvPr id="9" name="Straight Connector 8"/>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5942914" y="3967299"/>
              <a:ext cx="306171" cy="306910"/>
              <a:chOff x="5937564" y="3833745"/>
              <a:chExt cx="306171" cy="306910"/>
            </a:xfrm>
          </p:grpSpPr>
          <p:sp>
            <p:nvSpPr>
              <p:cNvPr id="11"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2"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3" name="Group 12"/>
          <p:cNvGrpSpPr>
            <a:grpSpLocks noChangeAspect="1"/>
          </p:cNvGrpSpPr>
          <p:nvPr/>
        </p:nvGrpSpPr>
        <p:grpSpPr>
          <a:xfrm>
            <a:off x="629400" y="2947751"/>
            <a:ext cx="976809" cy="976809"/>
            <a:chOff x="5273803" y="2606803"/>
            <a:chExt cx="1645920" cy="1645920"/>
          </a:xfrm>
        </p:grpSpPr>
        <p:sp>
          <p:nvSpPr>
            <p:cNvPr id="14" name="AutoShape 23">
              <a:extLst>
                <a:ext uri="{FF2B5EF4-FFF2-40B4-BE49-F238E27FC236}">
                  <a16:creationId xmlns:a16="http://schemas.microsoft.com/office/drawing/2014/main" xmlns="" id="{2223E742-6BC3-46DF-8D0B-A65A35FD837C}"/>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 name="Group 14"/>
            <p:cNvGrpSpPr/>
            <p:nvPr/>
          </p:nvGrpSpPr>
          <p:grpSpPr>
            <a:xfrm>
              <a:off x="5484691" y="2758822"/>
              <a:ext cx="1224143" cy="1341882"/>
              <a:chOff x="5355525" y="2801969"/>
              <a:chExt cx="1522662" cy="1670659"/>
            </a:xfrm>
          </p:grpSpPr>
          <p:sp>
            <p:nvSpPr>
              <p:cNvPr id="16" name="Freeform 25">
                <a:extLst>
                  <a:ext uri="{FF2B5EF4-FFF2-40B4-BE49-F238E27FC236}">
                    <a16:creationId xmlns:a16="http://schemas.microsoft.com/office/drawing/2014/main" xmlns="" id="{6A05DAAB-CE48-4DE4-B1B3-210686AAEDBC}"/>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6">
                <a:extLst>
                  <a:ext uri="{FF2B5EF4-FFF2-40B4-BE49-F238E27FC236}">
                    <a16:creationId xmlns:a16="http://schemas.microsoft.com/office/drawing/2014/main" xmlns="" id="{F072E607-07EE-40A8-B1F8-71806F7BE30A}"/>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 name="bcgIcons_Trophy">
            <a:extLst>
              <a:ext uri="{FF2B5EF4-FFF2-40B4-BE49-F238E27FC236}">
                <a16:creationId xmlns:a16="http://schemas.microsoft.com/office/drawing/2014/main" xmlns="" id="{C2E24DA5-E92B-495B-830A-3960B4B4F0E5}"/>
              </a:ext>
            </a:extLst>
          </p:cNvPr>
          <p:cNvGrpSpPr>
            <a:grpSpLocks noChangeAspect="1"/>
          </p:cNvGrpSpPr>
          <p:nvPr/>
        </p:nvGrpSpPr>
        <p:grpSpPr bwMode="auto">
          <a:xfrm>
            <a:off x="629851" y="4137511"/>
            <a:ext cx="975905" cy="976809"/>
            <a:chOff x="1682" y="0"/>
            <a:chExt cx="4316" cy="4320"/>
          </a:xfrm>
        </p:grpSpPr>
        <p:sp>
          <p:nvSpPr>
            <p:cNvPr id="19" name="AutoShape 13">
              <a:extLst>
                <a:ext uri="{FF2B5EF4-FFF2-40B4-BE49-F238E27FC236}">
                  <a16:creationId xmlns:a16="http://schemas.microsoft.com/office/drawing/2014/main" xmlns="" id="{AA8C4C92-3E51-41D7-86C5-B383AB2F4AB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a:extLst>
                <a:ext uri="{FF2B5EF4-FFF2-40B4-BE49-F238E27FC236}">
                  <a16:creationId xmlns:a16="http://schemas.microsoft.com/office/drawing/2014/main" xmlns="" id="{69F4F0A5-8402-4F02-AE0D-20D2CDB9D325}"/>
                </a:ext>
              </a:extLst>
            </p:cNvPr>
            <p:cNvSpPr>
              <a:spLocks/>
            </p:cNvSpPr>
            <p:nvPr/>
          </p:nvSpPr>
          <p:spPr bwMode="auto">
            <a:xfrm>
              <a:off x="2677" y="726"/>
              <a:ext cx="2330" cy="2703"/>
            </a:xfrm>
            <a:custGeom>
              <a:avLst/>
              <a:gdLst>
                <a:gd name="T0" fmla="*/ 726 w 1244"/>
                <a:gd name="T1" fmla="*/ 1148 h 1442"/>
                <a:gd name="T2" fmla="*/ 731 w 1244"/>
                <a:gd name="T3" fmla="*/ 1129 h 1442"/>
                <a:gd name="T4" fmla="*/ 919 w 1244"/>
                <a:gd name="T5" fmla="*/ 987 h 1442"/>
                <a:gd name="T6" fmla="*/ 1124 w 1244"/>
                <a:gd name="T7" fmla="*/ 618 h 1442"/>
                <a:gd name="T8" fmla="*/ 1219 w 1244"/>
                <a:gd name="T9" fmla="*/ 158 h 1442"/>
                <a:gd name="T10" fmla="*/ 1229 w 1244"/>
                <a:gd name="T11" fmla="*/ 34 h 1442"/>
                <a:gd name="T12" fmla="*/ 1192 w 1244"/>
                <a:gd name="T13" fmla="*/ 0 h 1442"/>
                <a:gd name="T14" fmla="*/ 51 w 1244"/>
                <a:gd name="T15" fmla="*/ 0 h 1442"/>
                <a:gd name="T16" fmla="*/ 46 w 1244"/>
                <a:gd name="T17" fmla="*/ 2 h 1442"/>
                <a:gd name="T18" fmla="*/ 14 w 1244"/>
                <a:gd name="T19" fmla="*/ 34 h 1442"/>
                <a:gd name="T20" fmla="*/ 24 w 1244"/>
                <a:gd name="T21" fmla="*/ 158 h 1442"/>
                <a:gd name="T22" fmla="*/ 120 w 1244"/>
                <a:gd name="T23" fmla="*/ 618 h 1442"/>
                <a:gd name="T24" fmla="*/ 325 w 1244"/>
                <a:gd name="T25" fmla="*/ 987 h 1442"/>
                <a:gd name="T26" fmla="*/ 513 w 1244"/>
                <a:gd name="T27" fmla="*/ 1129 h 1442"/>
                <a:gd name="T28" fmla="*/ 519 w 1244"/>
                <a:gd name="T29" fmla="*/ 1148 h 1442"/>
                <a:gd name="T30" fmla="*/ 445 w 1244"/>
                <a:gd name="T31" fmla="*/ 1299 h 1442"/>
                <a:gd name="T32" fmla="*/ 353 w 1244"/>
                <a:gd name="T33" fmla="*/ 1419 h 1442"/>
                <a:gd name="T34" fmla="*/ 364 w 1244"/>
                <a:gd name="T35" fmla="*/ 1442 h 1442"/>
                <a:gd name="T36" fmla="*/ 880 w 1244"/>
                <a:gd name="T37" fmla="*/ 1442 h 1442"/>
                <a:gd name="T38" fmla="*/ 891 w 1244"/>
                <a:gd name="T39" fmla="*/ 1419 h 1442"/>
                <a:gd name="T40" fmla="*/ 799 w 1244"/>
                <a:gd name="T41" fmla="*/ 1299 h 1442"/>
                <a:gd name="T42" fmla="*/ 726 w 1244"/>
                <a:gd name="T43" fmla="*/ 1148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4" h="1442">
                  <a:moveTo>
                    <a:pt x="726" y="1148"/>
                  </a:moveTo>
                  <a:cubicBezTo>
                    <a:pt x="723" y="1141"/>
                    <a:pt x="725" y="1134"/>
                    <a:pt x="731" y="1129"/>
                  </a:cubicBezTo>
                  <a:cubicBezTo>
                    <a:pt x="772" y="1104"/>
                    <a:pt x="906" y="1001"/>
                    <a:pt x="919" y="987"/>
                  </a:cubicBezTo>
                  <a:cubicBezTo>
                    <a:pt x="1015" y="882"/>
                    <a:pt x="1087" y="755"/>
                    <a:pt x="1124" y="618"/>
                  </a:cubicBezTo>
                  <a:cubicBezTo>
                    <a:pt x="1165" y="466"/>
                    <a:pt x="1188" y="311"/>
                    <a:pt x="1219" y="158"/>
                  </a:cubicBezTo>
                  <a:cubicBezTo>
                    <a:pt x="1228" y="119"/>
                    <a:pt x="1244" y="73"/>
                    <a:pt x="1229" y="34"/>
                  </a:cubicBezTo>
                  <a:cubicBezTo>
                    <a:pt x="1223" y="16"/>
                    <a:pt x="1195" y="0"/>
                    <a:pt x="1192" y="0"/>
                  </a:cubicBezTo>
                  <a:cubicBezTo>
                    <a:pt x="1148" y="0"/>
                    <a:pt x="95" y="0"/>
                    <a:pt x="51" y="0"/>
                  </a:cubicBezTo>
                  <a:cubicBezTo>
                    <a:pt x="50" y="0"/>
                    <a:pt x="48" y="1"/>
                    <a:pt x="46" y="2"/>
                  </a:cubicBezTo>
                  <a:cubicBezTo>
                    <a:pt x="32" y="6"/>
                    <a:pt x="21" y="16"/>
                    <a:pt x="14" y="34"/>
                  </a:cubicBezTo>
                  <a:cubicBezTo>
                    <a:pt x="0" y="73"/>
                    <a:pt x="17" y="119"/>
                    <a:pt x="24" y="158"/>
                  </a:cubicBezTo>
                  <a:cubicBezTo>
                    <a:pt x="56" y="311"/>
                    <a:pt x="79" y="466"/>
                    <a:pt x="120" y="618"/>
                  </a:cubicBezTo>
                  <a:cubicBezTo>
                    <a:pt x="158" y="755"/>
                    <a:pt x="230" y="882"/>
                    <a:pt x="325" y="987"/>
                  </a:cubicBezTo>
                  <a:cubicBezTo>
                    <a:pt x="338" y="1001"/>
                    <a:pt x="472" y="1104"/>
                    <a:pt x="513" y="1129"/>
                  </a:cubicBezTo>
                  <a:cubicBezTo>
                    <a:pt x="519" y="1134"/>
                    <a:pt x="521" y="1141"/>
                    <a:pt x="519" y="1148"/>
                  </a:cubicBezTo>
                  <a:cubicBezTo>
                    <a:pt x="496" y="1199"/>
                    <a:pt x="474" y="1251"/>
                    <a:pt x="445" y="1299"/>
                  </a:cubicBezTo>
                  <a:cubicBezTo>
                    <a:pt x="418" y="1341"/>
                    <a:pt x="385" y="1380"/>
                    <a:pt x="353" y="1419"/>
                  </a:cubicBezTo>
                  <a:cubicBezTo>
                    <a:pt x="345" y="1429"/>
                    <a:pt x="352" y="1442"/>
                    <a:pt x="364" y="1442"/>
                  </a:cubicBezTo>
                  <a:cubicBezTo>
                    <a:pt x="880" y="1442"/>
                    <a:pt x="880" y="1442"/>
                    <a:pt x="880" y="1442"/>
                  </a:cubicBezTo>
                  <a:cubicBezTo>
                    <a:pt x="893" y="1442"/>
                    <a:pt x="900" y="1429"/>
                    <a:pt x="891" y="1419"/>
                  </a:cubicBezTo>
                  <a:cubicBezTo>
                    <a:pt x="859" y="1380"/>
                    <a:pt x="826" y="1341"/>
                    <a:pt x="799" y="1299"/>
                  </a:cubicBezTo>
                  <a:cubicBezTo>
                    <a:pt x="770" y="1251"/>
                    <a:pt x="749" y="1199"/>
                    <a:pt x="726" y="11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6">
              <a:extLst>
                <a:ext uri="{FF2B5EF4-FFF2-40B4-BE49-F238E27FC236}">
                  <a16:creationId xmlns:a16="http://schemas.microsoft.com/office/drawing/2014/main" xmlns="" id="{600653C3-5B81-45F6-ADBE-60599C6DBD68}"/>
                </a:ext>
              </a:extLst>
            </p:cNvPr>
            <p:cNvSpPr>
              <a:spLocks noEditPoints="1"/>
            </p:cNvSpPr>
            <p:nvPr/>
          </p:nvSpPr>
          <p:spPr bwMode="auto">
            <a:xfrm>
              <a:off x="2306" y="943"/>
              <a:ext cx="3072" cy="2650"/>
            </a:xfrm>
            <a:custGeom>
              <a:avLst/>
              <a:gdLst>
                <a:gd name="T0" fmla="*/ 1636 w 1640"/>
                <a:gd name="T1" fmla="*/ 150 h 1413"/>
                <a:gd name="T2" fmla="*/ 1392 w 1640"/>
                <a:gd name="T3" fmla="*/ 620 h 1413"/>
                <a:gd name="T4" fmla="*/ 1296 w 1640"/>
                <a:gd name="T5" fmla="*/ 690 h 1413"/>
                <a:gd name="T6" fmla="*/ 1332 w 1640"/>
                <a:gd name="T7" fmla="*/ 610 h 1413"/>
                <a:gd name="T8" fmla="*/ 1367 w 1640"/>
                <a:gd name="T9" fmla="*/ 585 h 1413"/>
                <a:gd name="T10" fmla="*/ 1367 w 1640"/>
                <a:gd name="T11" fmla="*/ 584 h 1413"/>
                <a:gd name="T12" fmla="*/ 1592 w 1640"/>
                <a:gd name="T13" fmla="*/ 146 h 1413"/>
                <a:gd name="T14" fmla="*/ 1574 w 1640"/>
                <a:gd name="T15" fmla="*/ 75 h 1413"/>
                <a:gd name="T16" fmla="*/ 1507 w 1640"/>
                <a:gd name="T17" fmla="*/ 44 h 1413"/>
                <a:gd name="T18" fmla="*/ 1462 w 1640"/>
                <a:gd name="T19" fmla="*/ 44 h 1413"/>
                <a:gd name="T20" fmla="*/ 1465 w 1640"/>
                <a:gd name="T21" fmla="*/ 32 h 1413"/>
                <a:gd name="T22" fmla="*/ 1472 w 1640"/>
                <a:gd name="T23" fmla="*/ 0 h 1413"/>
                <a:gd name="T24" fmla="*/ 1508 w 1640"/>
                <a:gd name="T25" fmla="*/ 0 h 1413"/>
                <a:gd name="T26" fmla="*/ 1509 w 1640"/>
                <a:gd name="T27" fmla="*/ 0 h 1413"/>
                <a:gd name="T28" fmla="*/ 1607 w 1640"/>
                <a:gd name="T29" fmla="*/ 46 h 1413"/>
                <a:gd name="T30" fmla="*/ 1636 w 1640"/>
                <a:gd name="T31" fmla="*/ 150 h 1413"/>
                <a:gd name="T32" fmla="*/ 1171 w 1640"/>
                <a:gd name="T33" fmla="*/ 1391 h 1413"/>
                <a:gd name="T34" fmla="*/ 1149 w 1640"/>
                <a:gd name="T35" fmla="*/ 1369 h 1413"/>
                <a:gd name="T36" fmla="*/ 491 w 1640"/>
                <a:gd name="T37" fmla="*/ 1369 h 1413"/>
                <a:gd name="T38" fmla="*/ 469 w 1640"/>
                <a:gd name="T39" fmla="*/ 1391 h 1413"/>
                <a:gd name="T40" fmla="*/ 491 w 1640"/>
                <a:gd name="T41" fmla="*/ 1413 h 1413"/>
                <a:gd name="T42" fmla="*/ 1149 w 1640"/>
                <a:gd name="T43" fmla="*/ 1413 h 1413"/>
                <a:gd name="T44" fmla="*/ 1171 w 1640"/>
                <a:gd name="T45" fmla="*/ 1391 h 1413"/>
                <a:gd name="T46" fmla="*/ 308 w 1640"/>
                <a:gd name="T47" fmla="*/ 610 h 1413"/>
                <a:gd name="T48" fmla="*/ 273 w 1640"/>
                <a:gd name="T49" fmla="*/ 585 h 1413"/>
                <a:gd name="T50" fmla="*/ 273 w 1640"/>
                <a:gd name="T51" fmla="*/ 584 h 1413"/>
                <a:gd name="T52" fmla="*/ 48 w 1640"/>
                <a:gd name="T53" fmla="*/ 146 h 1413"/>
                <a:gd name="T54" fmla="*/ 66 w 1640"/>
                <a:gd name="T55" fmla="*/ 75 h 1413"/>
                <a:gd name="T56" fmla="*/ 133 w 1640"/>
                <a:gd name="T57" fmla="*/ 44 h 1413"/>
                <a:gd name="T58" fmla="*/ 178 w 1640"/>
                <a:gd name="T59" fmla="*/ 44 h 1413"/>
                <a:gd name="T60" fmla="*/ 174 w 1640"/>
                <a:gd name="T61" fmla="*/ 27 h 1413"/>
                <a:gd name="T62" fmla="*/ 168 w 1640"/>
                <a:gd name="T63" fmla="*/ 0 h 1413"/>
                <a:gd name="T64" fmla="*/ 132 w 1640"/>
                <a:gd name="T65" fmla="*/ 0 h 1413"/>
                <a:gd name="T66" fmla="*/ 131 w 1640"/>
                <a:gd name="T67" fmla="*/ 0 h 1413"/>
                <a:gd name="T68" fmla="*/ 33 w 1640"/>
                <a:gd name="T69" fmla="*/ 46 h 1413"/>
                <a:gd name="T70" fmla="*/ 4 w 1640"/>
                <a:gd name="T71" fmla="*/ 150 h 1413"/>
                <a:gd name="T72" fmla="*/ 248 w 1640"/>
                <a:gd name="T73" fmla="*/ 620 h 1413"/>
                <a:gd name="T74" fmla="*/ 345 w 1640"/>
                <a:gd name="T75" fmla="*/ 690 h 1413"/>
                <a:gd name="T76" fmla="*/ 308 w 1640"/>
                <a:gd name="T77" fmla="*/ 610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40" h="1413">
                  <a:moveTo>
                    <a:pt x="1636" y="150"/>
                  </a:moveTo>
                  <a:cubicBezTo>
                    <a:pt x="1622" y="300"/>
                    <a:pt x="1550" y="514"/>
                    <a:pt x="1392" y="620"/>
                  </a:cubicBezTo>
                  <a:cubicBezTo>
                    <a:pt x="1296" y="690"/>
                    <a:pt x="1296" y="690"/>
                    <a:pt x="1296" y="690"/>
                  </a:cubicBezTo>
                  <a:cubicBezTo>
                    <a:pt x="1309" y="664"/>
                    <a:pt x="1321" y="637"/>
                    <a:pt x="1332" y="610"/>
                  </a:cubicBezTo>
                  <a:cubicBezTo>
                    <a:pt x="1367" y="585"/>
                    <a:pt x="1367" y="585"/>
                    <a:pt x="1367" y="585"/>
                  </a:cubicBezTo>
                  <a:cubicBezTo>
                    <a:pt x="1367" y="584"/>
                    <a:pt x="1367" y="584"/>
                    <a:pt x="1367" y="584"/>
                  </a:cubicBezTo>
                  <a:cubicBezTo>
                    <a:pt x="1512" y="486"/>
                    <a:pt x="1579" y="287"/>
                    <a:pt x="1592" y="146"/>
                  </a:cubicBezTo>
                  <a:cubicBezTo>
                    <a:pt x="1595" y="116"/>
                    <a:pt x="1589" y="92"/>
                    <a:pt x="1574" y="75"/>
                  </a:cubicBezTo>
                  <a:cubicBezTo>
                    <a:pt x="1551" y="48"/>
                    <a:pt x="1512" y="44"/>
                    <a:pt x="1507" y="44"/>
                  </a:cubicBezTo>
                  <a:cubicBezTo>
                    <a:pt x="1462" y="44"/>
                    <a:pt x="1462" y="44"/>
                    <a:pt x="1462" y="44"/>
                  </a:cubicBezTo>
                  <a:cubicBezTo>
                    <a:pt x="1463" y="40"/>
                    <a:pt x="1464" y="36"/>
                    <a:pt x="1465" y="32"/>
                  </a:cubicBezTo>
                  <a:cubicBezTo>
                    <a:pt x="1467" y="22"/>
                    <a:pt x="1470" y="11"/>
                    <a:pt x="1472" y="0"/>
                  </a:cubicBezTo>
                  <a:cubicBezTo>
                    <a:pt x="1508" y="0"/>
                    <a:pt x="1508" y="0"/>
                    <a:pt x="1508" y="0"/>
                  </a:cubicBezTo>
                  <a:cubicBezTo>
                    <a:pt x="1508" y="0"/>
                    <a:pt x="1509" y="0"/>
                    <a:pt x="1509" y="0"/>
                  </a:cubicBezTo>
                  <a:cubicBezTo>
                    <a:pt x="1512" y="0"/>
                    <a:pt x="1570" y="4"/>
                    <a:pt x="1607" y="46"/>
                  </a:cubicBezTo>
                  <a:cubicBezTo>
                    <a:pt x="1630" y="73"/>
                    <a:pt x="1640" y="108"/>
                    <a:pt x="1636" y="150"/>
                  </a:cubicBezTo>
                  <a:close/>
                  <a:moveTo>
                    <a:pt x="1171" y="1391"/>
                  </a:moveTo>
                  <a:cubicBezTo>
                    <a:pt x="1171" y="1379"/>
                    <a:pt x="1161" y="1369"/>
                    <a:pt x="1149" y="1369"/>
                  </a:cubicBezTo>
                  <a:cubicBezTo>
                    <a:pt x="491" y="1369"/>
                    <a:pt x="491" y="1369"/>
                    <a:pt x="491" y="1369"/>
                  </a:cubicBezTo>
                  <a:cubicBezTo>
                    <a:pt x="479" y="1369"/>
                    <a:pt x="469" y="1379"/>
                    <a:pt x="469" y="1391"/>
                  </a:cubicBezTo>
                  <a:cubicBezTo>
                    <a:pt x="469" y="1403"/>
                    <a:pt x="479" y="1413"/>
                    <a:pt x="491" y="1413"/>
                  </a:cubicBezTo>
                  <a:cubicBezTo>
                    <a:pt x="1149" y="1413"/>
                    <a:pt x="1149" y="1413"/>
                    <a:pt x="1149" y="1413"/>
                  </a:cubicBezTo>
                  <a:cubicBezTo>
                    <a:pt x="1161" y="1413"/>
                    <a:pt x="1171" y="1403"/>
                    <a:pt x="1171" y="1391"/>
                  </a:cubicBezTo>
                  <a:close/>
                  <a:moveTo>
                    <a:pt x="308" y="610"/>
                  </a:moveTo>
                  <a:cubicBezTo>
                    <a:pt x="273" y="585"/>
                    <a:pt x="273" y="585"/>
                    <a:pt x="273" y="585"/>
                  </a:cubicBezTo>
                  <a:cubicBezTo>
                    <a:pt x="273" y="584"/>
                    <a:pt x="273" y="584"/>
                    <a:pt x="273" y="584"/>
                  </a:cubicBezTo>
                  <a:cubicBezTo>
                    <a:pt x="128" y="486"/>
                    <a:pt x="61" y="287"/>
                    <a:pt x="48" y="146"/>
                  </a:cubicBezTo>
                  <a:cubicBezTo>
                    <a:pt x="45" y="116"/>
                    <a:pt x="51" y="92"/>
                    <a:pt x="66" y="75"/>
                  </a:cubicBezTo>
                  <a:cubicBezTo>
                    <a:pt x="89" y="48"/>
                    <a:pt x="129" y="44"/>
                    <a:pt x="133" y="44"/>
                  </a:cubicBezTo>
                  <a:cubicBezTo>
                    <a:pt x="178" y="44"/>
                    <a:pt x="178" y="44"/>
                    <a:pt x="178" y="44"/>
                  </a:cubicBezTo>
                  <a:cubicBezTo>
                    <a:pt x="177" y="39"/>
                    <a:pt x="176" y="33"/>
                    <a:pt x="174" y="27"/>
                  </a:cubicBezTo>
                  <a:cubicBezTo>
                    <a:pt x="172" y="19"/>
                    <a:pt x="170" y="10"/>
                    <a:pt x="168" y="0"/>
                  </a:cubicBezTo>
                  <a:cubicBezTo>
                    <a:pt x="132" y="0"/>
                    <a:pt x="132" y="0"/>
                    <a:pt x="132" y="0"/>
                  </a:cubicBezTo>
                  <a:cubicBezTo>
                    <a:pt x="132" y="0"/>
                    <a:pt x="131" y="0"/>
                    <a:pt x="131" y="0"/>
                  </a:cubicBezTo>
                  <a:cubicBezTo>
                    <a:pt x="128" y="0"/>
                    <a:pt x="70" y="4"/>
                    <a:pt x="33" y="46"/>
                  </a:cubicBezTo>
                  <a:cubicBezTo>
                    <a:pt x="10" y="73"/>
                    <a:pt x="0" y="108"/>
                    <a:pt x="4" y="150"/>
                  </a:cubicBezTo>
                  <a:cubicBezTo>
                    <a:pt x="18" y="300"/>
                    <a:pt x="90" y="514"/>
                    <a:pt x="248" y="620"/>
                  </a:cubicBezTo>
                  <a:cubicBezTo>
                    <a:pt x="345" y="690"/>
                    <a:pt x="345" y="690"/>
                    <a:pt x="345" y="690"/>
                  </a:cubicBezTo>
                  <a:cubicBezTo>
                    <a:pt x="332" y="664"/>
                    <a:pt x="319" y="637"/>
                    <a:pt x="308" y="6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p:cNvGrpSpPr>
            <a:grpSpLocks noChangeAspect="1"/>
          </p:cNvGrpSpPr>
          <p:nvPr/>
        </p:nvGrpSpPr>
        <p:grpSpPr>
          <a:xfrm>
            <a:off x="629400" y="5327270"/>
            <a:ext cx="975905" cy="976809"/>
            <a:chOff x="5273802" y="2606040"/>
            <a:chExt cx="1644396" cy="1645920"/>
          </a:xfrm>
        </p:grpSpPr>
        <p:sp>
          <p:nvSpPr>
            <p:cNvPr id="23" name="AutoShape 137"/>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4" name="Group 23"/>
            <p:cNvGrpSpPr/>
            <p:nvPr/>
          </p:nvGrpSpPr>
          <p:grpSpPr>
            <a:xfrm>
              <a:off x="5542026" y="2758059"/>
              <a:ext cx="1106424" cy="1305306"/>
              <a:chOff x="5542026" y="2758059"/>
              <a:chExt cx="1106424" cy="1305306"/>
            </a:xfrm>
          </p:grpSpPr>
          <p:sp>
            <p:nvSpPr>
              <p:cNvPr id="25" name="Freeform 139"/>
              <p:cNvSpPr>
                <a:spLocks/>
              </p:cNvSpPr>
              <p:nvPr/>
            </p:nvSpPr>
            <p:spPr bwMode="auto">
              <a:xfrm>
                <a:off x="5970270" y="2758059"/>
                <a:ext cx="249936" cy="25031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0"/>
              <p:cNvSpPr>
                <a:spLocks/>
              </p:cNvSpPr>
              <p:nvPr/>
            </p:nvSpPr>
            <p:spPr bwMode="auto">
              <a:xfrm>
                <a:off x="5684901" y="2883408"/>
                <a:ext cx="196215" cy="187833"/>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41"/>
              <p:cNvSpPr>
                <a:spLocks/>
              </p:cNvSpPr>
              <p:nvPr/>
            </p:nvSpPr>
            <p:spPr bwMode="auto">
              <a:xfrm>
                <a:off x="5542026" y="3079623"/>
                <a:ext cx="133731" cy="124968"/>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42"/>
              <p:cNvSpPr>
                <a:spLocks/>
              </p:cNvSpPr>
              <p:nvPr/>
            </p:nvSpPr>
            <p:spPr bwMode="auto">
              <a:xfrm>
                <a:off x="6515100" y="3079623"/>
                <a:ext cx="133350" cy="124968"/>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43"/>
              <p:cNvSpPr>
                <a:spLocks/>
              </p:cNvSpPr>
              <p:nvPr/>
            </p:nvSpPr>
            <p:spPr bwMode="auto">
              <a:xfrm>
                <a:off x="6309360" y="2883408"/>
                <a:ext cx="196215" cy="187833"/>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44"/>
              <p:cNvSpPr>
                <a:spLocks/>
              </p:cNvSpPr>
              <p:nvPr/>
            </p:nvSpPr>
            <p:spPr bwMode="auto">
              <a:xfrm>
                <a:off x="5819013" y="3079623"/>
                <a:ext cx="553212" cy="422910"/>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45"/>
              <p:cNvSpPr>
                <a:spLocks/>
              </p:cNvSpPr>
              <p:nvPr/>
            </p:nvSpPr>
            <p:spPr bwMode="auto">
              <a:xfrm>
                <a:off x="5567172" y="3821811"/>
                <a:ext cx="1056132" cy="241554"/>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46"/>
              <p:cNvSpPr>
                <a:spLocks/>
              </p:cNvSpPr>
              <p:nvPr/>
            </p:nvSpPr>
            <p:spPr bwMode="auto">
              <a:xfrm>
                <a:off x="5813298" y="3499866"/>
                <a:ext cx="563880" cy="3333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3" name="bcgIcons_Target">
            <a:extLst>
              <a:ext uri="{FF2B5EF4-FFF2-40B4-BE49-F238E27FC236}">
                <a16:creationId xmlns:a16="http://schemas.microsoft.com/office/drawing/2014/main" xmlns="" id="{02916922-81B1-4399-BF36-3FC0C6969C4A}"/>
              </a:ext>
            </a:extLst>
          </p:cNvPr>
          <p:cNvGrpSpPr>
            <a:grpSpLocks noChangeAspect="1"/>
          </p:cNvGrpSpPr>
          <p:nvPr/>
        </p:nvGrpSpPr>
        <p:grpSpPr bwMode="auto">
          <a:xfrm>
            <a:off x="6566960" y="2990490"/>
            <a:ext cx="975905" cy="976809"/>
            <a:chOff x="1682" y="0"/>
            <a:chExt cx="4316" cy="4320"/>
          </a:xfrm>
        </p:grpSpPr>
        <p:sp>
          <p:nvSpPr>
            <p:cNvPr id="34" name="AutoShape 23">
              <a:extLst>
                <a:ext uri="{FF2B5EF4-FFF2-40B4-BE49-F238E27FC236}">
                  <a16:creationId xmlns:a16="http://schemas.microsoft.com/office/drawing/2014/main" xmlns="" id="{89F4D31F-87B6-4E69-917E-65E2F97982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5">
              <a:extLst>
                <a:ext uri="{FF2B5EF4-FFF2-40B4-BE49-F238E27FC236}">
                  <a16:creationId xmlns:a16="http://schemas.microsoft.com/office/drawing/2014/main" xmlns="" id="{FA0FD38E-7CA9-4ECE-9013-798D4E40C55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6">
              <a:extLst>
                <a:ext uri="{FF2B5EF4-FFF2-40B4-BE49-F238E27FC236}">
                  <a16:creationId xmlns:a16="http://schemas.microsoft.com/office/drawing/2014/main" xmlns="" id="{F562C458-32E3-43E7-BAF7-B4773D3C4A71}"/>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bcgIcons_GoToMarket">
            <a:extLst>
              <a:ext uri="{FF2B5EF4-FFF2-40B4-BE49-F238E27FC236}">
                <a16:creationId xmlns:a16="http://schemas.microsoft.com/office/drawing/2014/main" xmlns="" id="{80DCD6BF-47C8-41B6-935A-8B6D6CCE7BFE}"/>
              </a:ext>
            </a:extLst>
          </p:cNvPr>
          <p:cNvGrpSpPr>
            <a:grpSpLocks noChangeAspect="1"/>
          </p:cNvGrpSpPr>
          <p:nvPr/>
        </p:nvGrpSpPr>
        <p:grpSpPr bwMode="auto">
          <a:xfrm>
            <a:off x="6566960" y="5327270"/>
            <a:ext cx="975905" cy="976809"/>
            <a:chOff x="1682" y="0"/>
            <a:chExt cx="4316" cy="4320"/>
          </a:xfrm>
        </p:grpSpPr>
        <p:sp>
          <p:nvSpPr>
            <p:cNvPr id="38" name="AutoShape 14">
              <a:extLst>
                <a:ext uri="{FF2B5EF4-FFF2-40B4-BE49-F238E27FC236}">
                  <a16:creationId xmlns:a16="http://schemas.microsoft.com/office/drawing/2014/main" xmlns="" id="{6B6264DF-7B72-47C2-A253-60D979D85B1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6">
              <a:extLst>
                <a:ext uri="{FF2B5EF4-FFF2-40B4-BE49-F238E27FC236}">
                  <a16:creationId xmlns:a16="http://schemas.microsoft.com/office/drawing/2014/main" xmlns="" id="{FF46FB5E-9D6C-47F1-A06B-2A72B07FF12A}"/>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7">
              <a:extLst>
                <a:ext uri="{FF2B5EF4-FFF2-40B4-BE49-F238E27FC236}">
                  <a16:creationId xmlns:a16="http://schemas.microsoft.com/office/drawing/2014/main" xmlns="" id="{6B8AE4E4-9646-49AB-AFD2-4CB528364E93}"/>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p:cNvGrpSpPr>
            <a:grpSpLocks noChangeAspect="1"/>
          </p:cNvGrpSpPr>
          <p:nvPr/>
        </p:nvGrpSpPr>
        <p:grpSpPr>
          <a:xfrm>
            <a:off x="6566508" y="4158880"/>
            <a:ext cx="976809" cy="976809"/>
            <a:chOff x="5273675" y="2606675"/>
            <a:chExt cx="1644650" cy="1644650"/>
          </a:xfrm>
        </p:grpSpPr>
        <p:sp>
          <p:nvSpPr>
            <p:cNvPr id="42"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p:cNvGrpSpPr/>
            <p:nvPr/>
          </p:nvGrpSpPr>
          <p:grpSpPr>
            <a:xfrm>
              <a:off x="5435601" y="2782802"/>
              <a:ext cx="1312862" cy="1293982"/>
              <a:chOff x="5435601" y="2782802"/>
              <a:chExt cx="1312862" cy="1293982"/>
            </a:xfrm>
          </p:grpSpPr>
          <p:sp>
            <p:nvSpPr>
              <p:cNvPr id="44" name="Freeform 43"/>
              <p:cNvSpPr>
                <a:spLocks/>
              </p:cNvSpPr>
              <p:nvPr/>
            </p:nvSpPr>
            <p:spPr bwMode="auto">
              <a:xfrm>
                <a:off x="5435601" y="2782802"/>
                <a:ext cx="1312862" cy="1293982"/>
              </a:xfrm>
              <a:custGeom>
                <a:avLst/>
                <a:gdLst>
                  <a:gd name="connsiteX0" fmla="*/ 292611 w 1312862"/>
                  <a:gd name="connsiteY0" fmla="*/ 935122 h 1293982"/>
                  <a:gd name="connsiteX1" fmla="*/ 286175 w 1312862"/>
                  <a:gd name="connsiteY1" fmla="*/ 935836 h 1293982"/>
                  <a:gd name="connsiteX2" fmla="*/ 274733 w 1312862"/>
                  <a:gd name="connsiteY2" fmla="*/ 937265 h 1293982"/>
                  <a:gd name="connsiteX3" fmla="*/ 241838 w 1312862"/>
                  <a:gd name="connsiteY3" fmla="*/ 948692 h 1293982"/>
                  <a:gd name="connsiteX4" fmla="*/ 30163 w 1312862"/>
                  <a:gd name="connsiteY4" fmla="*/ 1069391 h 1293982"/>
                  <a:gd name="connsiteX5" fmla="*/ 30163 w 1312862"/>
                  <a:gd name="connsiteY5" fmla="*/ 1255797 h 1293982"/>
                  <a:gd name="connsiteX6" fmla="*/ 248989 w 1312862"/>
                  <a:gd name="connsiteY6" fmla="*/ 1171522 h 1293982"/>
                  <a:gd name="connsiteX7" fmla="*/ 310489 w 1312862"/>
                  <a:gd name="connsiteY7" fmla="*/ 1160095 h 1293982"/>
                  <a:gd name="connsiteX8" fmla="*/ 322646 w 1312862"/>
                  <a:gd name="connsiteY8" fmla="*/ 1160809 h 1293982"/>
                  <a:gd name="connsiteX9" fmla="*/ 410605 w 1312862"/>
                  <a:gd name="connsiteY9" fmla="*/ 1167237 h 1293982"/>
                  <a:gd name="connsiteX10" fmla="*/ 444931 w 1312862"/>
                  <a:gd name="connsiteY10" fmla="*/ 1167951 h 1293982"/>
                  <a:gd name="connsiteX11" fmla="*/ 587954 w 1312862"/>
                  <a:gd name="connsiteY11" fmla="*/ 1146525 h 1293982"/>
                  <a:gd name="connsiteX12" fmla="*/ 597251 w 1312862"/>
                  <a:gd name="connsiteY12" fmla="*/ 1143668 h 1293982"/>
                  <a:gd name="connsiteX13" fmla="*/ 751716 w 1312862"/>
                  <a:gd name="connsiteY13" fmla="*/ 1040823 h 1293982"/>
                  <a:gd name="connsiteX14" fmla="*/ 785327 w 1312862"/>
                  <a:gd name="connsiteY14" fmla="*/ 1001543 h 1293982"/>
                  <a:gd name="connsiteX15" fmla="*/ 783181 w 1312862"/>
                  <a:gd name="connsiteY15" fmla="*/ 962262 h 1293982"/>
                  <a:gd name="connsiteX16" fmla="*/ 763873 w 1312862"/>
                  <a:gd name="connsiteY16" fmla="*/ 955120 h 1293982"/>
                  <a:gd name="connsiteX17" fmla="*/ 743135 w 1312862"/>
                  <a:gd name="connsiteY17" fmla="*/ 964404 h 1293982"/>
                  <a:gd name="connsiteX18" fmla="*/ 737414 w 1312862"/>
                  <a:gd name="connsiteY18" fmla="*/ 970832 h 1293982"/>
                  <a:gd name="connsiteX19" fmla="*/ 708094 w 1312862"/>
                  <a:gd name="connsiteY19" fmla="*/ 1004399 h 1293982"/>
                  <a:gd name="connsiteX20" fmla="*/ 678774 w 1312862"/>
                  <a:gd name="connsiteY20" fmla="*/ 1031539 h 1293982"/>
                  <a:gd name="connsiteX21" fmla="*/ 668763 w 1312862"/>
                  <a:gd name="connsiteY21" fmla="*/ 1039395 h 1293982"/>
                  <a:gd name="connsiteX22" fmla="*/ 644449 w 1312862"/>
                  <a:gd name="connsiteY22" fmla="*/ 1054393 h 1293982"/>
                  <a:gd name="connsiteX23" fmla="*/ 594390 w 1312862"/>
                  <a:gd name="connsiteY23" fmla="*/ 1075105 h 1293982"/>
                  <a:gd name="connsiteX24" fmla="*/ 589385 w 1312862"/>
                  <a:gd name="connsiteY24" fmla="*/ 1076533 h 1293982"/>
                  <a:gd name="connsiteX25" fmla="*/ 529315 w 1312862"/>
                  <a:gd name="connsiteY25" fmla="*/ 1084390 h 1293982"/>
                  <a:gd name="connsiteX26" fmla="*/ 527169 w 1312862"/>
                  <a:gd name="connsiteY26" fmla="*/ 1084390 h 1293982"/>
                  <a:gd name="connsiteX27" fmla="*/ 489983 w 1312862"/>
                  <a:gd name="connsiteY27" fmla="*/ 1080819 h 1293982"/>
                  <a:gd name="connsiteX28" fmla="*/ 446361 w 1312862"/>
                  <a:gd name="connsiteY28" fmla="*/ 1068677 h 1293982"/>
                  <a:gd name="connsiteX29" fmla="*/ 427768 w 1312862"/>
                  <a:gd name="connsiteY29" fmla="*/ 1060821 h 1293982"/>
                  <a:gd name="connsiteX30" fmla="*/ 409175 w 1312862"/>
                  <a:gd name="connsiteY30" fmla="*/ 1034396 h 1293982"/>
                  <a:gd name="connsiteX31" fmla="*/ 409175 w 1312862"/>
                  <a:gd name="connsiteY31" fmla="*/ 1032967 h 1293982"/>
                  <a:gd name="connsiteX32" fmla="*/ 409175 w 1312862"/>
                  <a:gd name="connsiteY32" fmla="*/ 1029396 h 1293982"/>
                  <a:gd name="connsiteX33" fmla="*/ 410605 w 1312862"/>
                  <a:gd name="connsiteY33" fmla="*/ 1022969 h 1293982"/>
                  <a:gd name="connsiteX34" fmla="*/ 411321 w 1312862"/>
                  <a:gd name="connsiteY34" fmla="*/ 1020826 h 1293982"/>
                  <a:gd name="connsiteX35" fmla="*/ 417041 w 1312862"/>
                  <a:gd name="connsiteY35" fmla="*/ 1012970 h 1293982"/>
                  <a:gd name="connsiteX36" fmla="*/ 418472 w 1312862"/>
                  <a:gd name="connsiteY36" fmla="*/ 1011541 h 1293982"/>
                  <a:gd name="connsiteX37" fmla="*/ 436350 w 1312862"/>
                  <a:gd name="connsiteY37" fmla="*/ 1003685 h 1293982"/>
                  <a:gd name="connsiteX38" fmla="*/ 523594 w 1312862"/>
                  <a:gd name="connsiteY38" fmla="*/ 995115 h 1293982"/>
                  <a:gd name="connsiteX39" fmla="*/ 543617 w 1312862"/>
                  <a:gd name="connsiteY39" fmla="*/ 980117 h 1293982"/>
                  <a:gd name="connsiteX40" fmla="*/ 545762 w 1312862"/>
                  <a:gd name="connsiteY40" fmla="*/ 970832 h 1293982"/>
                  <a:gd name="connsiteX41" fmla="*/ 522879 w 1312862"/>
                  <a:gd name="connsiteY41" fmla="*/ 947263 h 1293982"/>
                  <a:gd name="connsiteX42" fmla="*/ 331227 w 1312862"/>
                  <a:gd name="connsiteY42" fmla="*/ 937265 h 1293982"/>
                  <a:gd name="connsiteX43" fmla="*/ 322646 w 1312862"/>
                  <a:gd name="connsiteY43" fmla="*/ 936551 h 1293982"/>
                  <a:gd name="connsiteX44" fmla="*/ 309774 w 1312862"/>
                  <a:gd name="connsiteY44" fmla="*/ 935836 h 1293982"/>
                  <a:gd name="connsiteX45" fmla="*/ 298332 w 1312862"/>
                  <a:gd name="connsiteY45" fmla="*/ 935836 h 1293982"/>
                  <a:gd name="connsiteX46" fmla="*/ 297617 w 1312862"/>
                  <a:gd name="connsiteY46" fmla="*/ 935836 h 1293982"/>
                  <a:gd name="connsiteX47" fmla="*/ 292611 w 1312862"/>
                  <a:gd name="connsiteY47" fmla="*/ 935122 h 1293982"/>
                  <a:gd name="connsiteX48" fmla="*/ 293046 w 1312862"/>
                  <a:gd name="connsiteY48" fmla="*/ 903372 h 1293982"/>
                  <a:gd name="connsiteX49" fmla="*/ 299463 w 1312862"/>
                  <a:gd name="connsiteY49" fmla="*/ 904085 h 1293982"/>
                  <a:gd name="connsiteX50" fmla="*/ 300889 w 1312862"/>
                  <a:gd name="connsiteY50" fmla="*/ 904085 h 1293982"/>
                  <a:gd name="connsiteX51" fmla="*/ 524060 w 1312862"/>
                  <a:gd name="connsiteY51" fmla="*/ 915497 h 1293982"/>
                  <a:gd name="connsiteX52" fmla="*/ 576823 w 1312862"/>
                  <a:gd name="connsiteY52" fmla="*/ 970415 h 1293982"/>
                  <a:gd name="connsiteX53" fmla="*/ 572545 w 1312862"/>
                  <a:gd name="connsiteY53" fmla="*/ 991099 h 1293982"/>
                  <a:gd name="connsiteX54" fmla="*/ 526912 w 1312862"/>
                  <a:gd name="connsiteY54" fmla="*/ 1026047 h 1293982"/>
                  <a:gd name="connsiteX55" fmla="*/ 444917 w 1312862"/>
                  <a:gd name="connsiteY55" fmla="*/ 1033892 h 1293982"/>
                  <a:gd name="connsiteX56" fmla="*/ 457751 w 1312862"/>
                  <a:gd name="connsiteY56" fmla="*/ 1038885 h 1293982"/>
                  <a:gd name="connsiteX57" fmla="*/ 495540 w 1312862"/>
                  <a:gd name="connsiteY57" fmla="*/ 1049583 h 1293982"/>
                  <a:gd name="connsiteX58" fmla="*/ 526912 w 1312862"/>
                  <a:gd name="connsiteY58" fmla="*/ 1052436 h 1293982"/>
                  <a:gd name="connsiteX59" fmla="*/ 529051 w 1312862"/>
                  <a:gd name="connsiteY59" fmla="*/ 1052436 h 1293982"/>
                  <a:gd name="connsiteX60" fmla="*/ 580388 w 1312862"/>
                  <a:gd name="connsiteY60" fmla="*/ 1045304 h 1293982"/>
                  <a:gd name="connsiteX61" fmla="*/ 585379 w 1312862"/>
                  <a:gd name="connsiteY61" fmla="*/ 1044591 h 1293982"/>
                  <a:gd name="connsiteX62" fmla="*/ 628872 w 1312862"/>
                  <a:gd name="connsiteY62" fmla="*/ 1026760 h 1293982"/>
                  <a:gd name="connsiteX63" fmla="*/ 649550 w 1312862"/>
                  <a:gd name="connsiteY63" fmla="*/ 1013209 h 1293982"/>
                  <a:gd name="connsiteX64" fmla="*/ 658819 w 1312862"/>
                  <a:gd name="connsiteY64" fmla="*/ 1006790 h 1293982"/>
                  <a:gd name="connsiteX65" fmla="*/ 683774 w 1312862"/>
                  <a:gd name="connsiteY65" fmla="*/ 982540 h 1293982"/>
                  <a:gd name="connsiteX66" fmla="*/ 718711 w 1312862"/>
                  <a:gd name="connsiteY66" fmla="*/ 943313 h 1293982"/>
                  <a:gd name="connsiteX67" fmla="*/ 762918 w 1312862"/>
                  <a:gd name="connsiteY67" fmla="*/ 923342 h 1293982"/>
                  <a:gd name="connsiteX68" fmla="*/ 807124 w 1312862"/>
                  <a:gd name="connsiteY68" fmla="*/ 942599 h 1293982"/>
                  <a:gd name="connsiteX69" fmla="*/ 807837 w 1312862"/>
                  <a:gd name="connsiteY69" fmla="*/ 1021767 h 1293982"/>
                  <a:gd name="connsiteX70" fmla="*/ 775039 w 1312862"/>
                  <a:gd name="connsiteY70" fmla="*/ 1060995 h 1293982"/>
                  <a:gd name="connsiteX71" fmla="*/ 606056 w 1312862"/>
                  <a:gd name="connsiteY71" fmla="*/ 1172971 h 1293982"/>
                  <a:gd name="connsiteX72" fmla="*/ 596787 w 1312862"/>
                  <a:gd name="connsiteY72" fmla="*/ 1175824 h 1293982"/>
                  <a:gd name="connsiteX73" fmla="*/ 444917 w 1312862"/>
                  <a:gd name="connsiteY73" fmla="*/ 1198647 h 1293982"/>
                  <a:gd name="connsiteX74" fmla="*/ 408553 w 1312862"/>
                  <a:gd name="connsiteY74" fmla="*/ 1197934 h 1293982"/>
                  <a:gd name="connsiteX75" fmla="*/ 320853 w 1312862"/>
                  <a:gd name="connsiteY75" fmla="*/ 1191515 h 1293982"/>
                  <a:gd name="connsiteX76" fmla="*/ 310871 w 1312862"/>
                  <a:gd name="connsiteY76" fmla="*/ 1190802 h 1293982"/>
                  <a:gd name="connsiteX77" fmla="*/ 260961 w 1312862"/>
                  <a:gd name="connsiteY77" fmla="*/ 1200074 h 1293982"/>
                  <a:gd name="connsiteX78" fmla="*/ 21390 w 1312862"/>
                  <a:gd name="connsiteY78" fmla="*/ 1292793 h 1293982"/>
                  <a:gd name="connsiteX79" fmla="*/ 0 w 1312862"/>
                  <a:gd name="connsiteY79" fmla="*/ 1278528 h 1293982"/>
                  <a:gd name="connsiteX80" fmla="*/ 0 w 1312862"/>
                  <a:gd name="connsiteY80" fmla="*/ 1059568 h 1293982"/>
                  <a:gd name="connsiteX81" fmla="*/ 8556 w 1312862"/>
                  <a:gd name="connsiteY81" fmla="*/ 1046017 h 1293982"/>
                  <a:gd name="connsiteX82" fmla="*/ 227449 w 1312862"/>
                  <a:gd name="connsiteY82" fmla="*/ 921203 h 1293982"/>
                  <a:gd name="connsiteX83" fmla="*/ 269517 w 1312862"/>
                  <a:gd name="connsiteY83" fmla="*/ 905512 h 1293982"/>
                  <a:gd name="connsiteX84" fmla="*/ 284490 w 1312862"/>
                  <a:gd name="connsiteY84" fmla="*/ 904085 h 1293982"/>
                  <a:gd name="connsiteX85" fmla="*/ 293046 w 1312862"/>
                  <a:gd name="connsiteY85" fmla="*/ 903372 h 1293982"/>
                  <a:gd name="connsiteX86" fmla="*/ 659587 w 1312862"/>
                  <a:gd name="connsiteY86" fmla="*/ 403310 h 1293982"/>
                  <a:gd name="connsiteX87" fmla="*/ 535978 w 1312862"/>
                  <a:gd name="connsiteY87" fmla="*/ 441853 h 1293982"/>
                  <a:gd name="connsiteX88" fmla="*/ 315912 w 1312862"/>
                  <a:gd name="connsiteY88" fmla="*/ 677394 h 1293982"/>
                  <a:gd name="connsiteX89" fmla="*/ 518116 w 1312862"/>
                  <a:gd name="connsiteY89" fmla="*/ 863685 h 1293982"/>
                  <a:gd name="connsiteX90" fmla="*/ 737468 w 1312862"/>
                  <a:gd name="connsiteY90" fmla="*/ 627431 h 1293982"/>
                  <a:gd name="connsiteX91" fmla="*/ 766762 w 1312862"/>
                  <a:gd name="connsiteY91" fmla="*/ 501095 h 1293982"/>
                  <a:gd name="connsiteX92" fmla="*/ 659587 w 1312862"/>
                  <a:gd name="connsiteY92" fmla="*/ 403310 h 1293982"/>
                  <a:gd name="connsiteX93" fmla="*/ 653979 w 1312862"/>
                  <a:gd name="connsiteY93" fmla="*/ 374574 h 1293982"/>
                  <a:gd name="connsiteX94" fmla="*/ 655407 w 1312862"/>
                  <a:gd name="connsiteY94" fmla="*/ 374574 h 1293982"/>
                  <a:gd name="connsiteX95" fmla="*/ 674683 w 1312862"/>
                  <a:gd name="connsiteY95" fmla="*/ 379569 h 1293982"/>
                  <a:gd name="connsiteX96" fmla="*/ 787484 w 1312862"/>
                  <a:gd name="connsiteY96" fmla="*/ 483027 h 1293982"/>
                  <a:gd name="connsiteX97" fmla="*/ 793909 w 1312862"/>
                  <a:gd name="connsiteY97" fmla="*/ 502292 h 1293982"/>
                  <a:gd name="connsiteX98" fmla="*/ 793909 w 1312862"/>
                  <a:gd name="connsiteY98" fmla="*/ 503006 h 1293982"/>
                  <a:gd name="connsiteX99" fmla="*/ 763210 w 1312862"/>
                  <a:gd name="connsiteY99" fmla="*/ 637859 h 1293982"/>
                  <a:gd name="connsiteX100" fmla="*/ 759641 w 1312862"/>
                  <a:gd name="connsiteY100" fmla="*/ 644280 h 1293982"/>
                  <a:gd name="connsiteX101" fmla="*/ 533324 w 1312862"/>
                  <a:gd name="connsiteY101" fmla="*/ 888300 h 1293982"/>
                  <a:gd name="connsiteX102" fmla="*/ 518332 w 1312862"/>
                  <a:gd name="connsiteY102" fmla="*/ 895435 h 1293982"/>
                  <a:gd name="connsiteX103" fmla="*/ 517618 w 1312862"/>
                  <a:gd name="connsiteY103" fmla="*/ 895435 h 1293982"/>
                  <a:gd name="connsiteX104" fmla="*/ 502625 w 1312862"/>
                  <a:gd name="connsiteY104" fmla="*/ 889727 h 1293982"/>
                  <a:gd name="connsiteX105" fmla="*/ 291302 w 1312862"/>
                  <a:gd name="connsiteY105" fmla="*/ 692799 h 1293982"/>
                  <a:gd name="connsiteX106" fmla="*/ 284162 w 1312862"/>
                  <a:gd name="connsiteY106" fmla="*/ 677815 h 1293982"/>
                  <a:gd name="connsiteX107" fmla="*/ 289874 w 1312862"/>
                  <a:gd name="connsiteY107" fmla="*/ 663545 h 1293982"/>
                  <a:gd name="connsiteX108" fmla="*/ 516190 w 1312862"/>
                  <a:gd name="connsiteY108" fmla="*/ 419525 h 1293982"/>
                  <a:gd name="connsiteX109" fmla="*/ 522615 w 1312862"/>
                  <a:gd name="connsiteY109" fmla="*/ 415244 h 1293982"/>
                  <a:gd name="connsiteX110" fmla="*/ 653979 w 1312862"/>
                  <a:gd name="connsiteY110" fmla="*/ 374574 h 1293982"/>
                  <a:gd name="connsiteX111" fmla="*/ 1281112 w 1312862"/>
                  <a:gd name="connsiteY111" fmla="*/ 38186 h 1293982"/>
                  <a:gd name="connsiteX112" fmla="*/ 1063703 w 1312862"/>
                  <a:gd name="connsiteY112" fmla="*/ 122462 h 1293982"/>
                  <a:gd name="connsiteX113" fmla="*/ 1001688 w 1312862"/>
                  <a:gd name="connsiteY113" fmla="*/ 133889 h 1293982"/>
                  <a:gd name="connsiteX114" fmla="*/ 989571 w 1312862"/>
                  <a:gd name="connsiteY114" fmla="*/ 133174 h 1293982"/>
                  <a:gd name="connsiteX115" fmla="*/ 902607 w 1312862"/>
                  <a:gd name="connsiteY115" fmla="*/ 126747 h 1293982"/>
                  <a:gd name="connsiteX116" fmla="*/ 868392 w 1312862"/>
                  <a:gd name="connsiteY116" fmla="*/ 126033 h 1293982"/>
                  <a:gd name="connsiteX117" fmla="*/ 725829 w 1312862"/>
                  <a:gd name="connsiteY117" fmla="*/ 147458 h 1293982"/>
                  <a:gd name="connsiteX118" fmla="*/ 716562 w 1312862"/>
                  <a:gd name="connsiteY118" fmla="*/ 150315 h 1293982"/>
                  <a:gd name="connsiteX119" fmla="*/ 562594 w 1312862"/>
                  <a:gd name="connsiteY119" fmla="*/ 253160 h 1293982"/>
                  <a:gd name="connsiteX120" fmla="*/ 528379 w 1312862"/>
                  <a:gd name="connsiteY120" fmla="*/ 292441 h 1293982"/>
                  <a:gd name="connsiteX121" fmla="*/ 531230 w 1312862"/>
                  <a:gd name="connsiteY121" fmla="*/ 331722 h 1293982"/>
                  <a:gd name="connsiteX122" fmla="*/ 549763 w 1312862"/>
                  <a:gd name="connsiteY122" fmla="*/ 338864 h 1293982"/>
                  <a:gd name="connsiteX123" fmla="*/ 571148 w 1312862"/>
                  <a:gd name="connsiteY123" fmla="*/ 329579 h 1293982"/>
                  <a:gd name="connsiteX124" fmla="*/ 576850 w 1312862"/>
                  <a:gd name="connsiteY124" fmla="*/ 323151 h 1293982"/>
                  <a:gd name="connsiteX125" fmla="*/ 606076 w 1312862"/>
                  <a:gd name="connsiteY125" fmla="*/ 289584 h 1293982"/>
                  <a:gd name="connsiteX126" fmla="*/ 634588 w 1312862"/>
                  <a:gd name="connsiteY126" fmla="*/ 262444 h 1293982"/>
                  <a:gd name="connsiteX127" fmla="*/ 644568 w 1312862"/>
                  <a:gd name="connsiteY127" fmla="*/ 254588 h 1293982"/>
                  <a:gd name="connsiteX128" fmla="*/ 668804 w 1312862"/>
                  <a:gd name="connsiteY128" fmla="*/ 239590 h 1293982"/>
                  <a:gd name="connsiteX129" fmla="*/ 719413 w 1312862"/>
                  <a:gd name="connsiteY129" fmla="*/ 218878 h 1293982"/>
                  <a:gd name="connsiteX130" fmla="*/ 724403 w 1312862"/>
                  <a:gd name="connsiteY130" fmla="*/ 217450 h 1293982"/>
                  <a:gd name="connsiteX131" fmla="*/ 783567 w 1312862"/>
                  <a:gd name="connsiteY131" fmla="*/ 209594 h 1293982"/>
                  <a:gd name="connsiteX132" fmla="*/ 786418 w 1312862"/>
                  <a:gd name="connsiteY132" fmla="*/ 209594 h 1293982"/>
                  <a:gd name="connsiteX133" fmla="*/ 823485 w 1312862"/>
                  <a:gd name="connsiteY133" fmla="*/ 213165 h 1293982"/>
                  <a:gd name="connsiteX134" fmla="*/ 866966 w 1312862"/>
                  <a:gd name="connsiteY134" fmla="*/ 225306 h 1293982"/>
                  <a:gd name="connsiteX135" fmla="*/ 885500 w 1312862"/>
                  <a:gd name="connsiteY135" fmla="*/ 233162 h 1293982"/>
                  <a:gd name="connsiteX136" fmla="*/ 904033 w 1312862"/>
                  <a:gd name="connsiteY136" fmla="*/ 259588 h 1293982"/>
                  <a:gd name="connsiteX137" fmla="*/ 904033 w 1312862"/>
                  <a:gd name="connsiteY137" fmla="*/ 261016 h 1293982"/>
                  <a:gd name="connsiteX138" fmla="*/ 903320 w 1312862"/>
                  <a:gd name="connsiteY138" fmla="*/ 264587 h 1293982"/>
                  <a:gd name="connsiteX139" fmla="*/ 901894 w 1312862"/>
                  <a:gd name="connsiteY139" fmla="*/ 271015 h 1293982"/>
                  <a:gd name="connsiteX140" fmla="*/ 901181 w 1312862"/>
                  <a:gd name="connsiteY140" fmla="*/ 273157 h 1293982"/>
                  <a:gd name="connsiteX141" fmla="*/ 896192 w 1312862"/>
                  <a:gd name="connsiteY141" fmla="*/ 281014 h 1293982"/>
                  <a:gd name="connsiteX142" fmla="*/ 894766 w 1312862"/>
                  <a:gd name="connsiteY142" fmla="*/ 282442 h 1293982"/>
                  <a:gd name="connsiteX143" fmla="*/ 876946 w 1312862"/>
                  <a:gd name="connsiteY143" fmla="*/ 290298 h 1293982"/>
                  <a:gd name="connsiteX144" fmla="*/ 789269 w 1312862"/>
                  <a:gd name="connsiteY144" fmla="*/ 298868 h 1293982"/>
                  <a:gd name="connsiteX145" fmla="*/ 769311 w 1312862"/>
                  <a:gd name="connsiteY145" fmla="*/ 313867 h 1293982"/>
                  <a:gd name="connsiteX146" fmla="*/ 767885 w 1312862"/>
                  <a:gd name="connsiteY146" fmla="*/ 323151 h 1293982"/>
                  <a:gd name="connsiteX147" fmla="*/ 790695 w 1312862"/>
                  <a:gd name="connsiteY147" fmla="*/ 346720 h 1293982"/>
                  <a:gd name="connsiteX148" fmla="*/ 981017 w 1312862"/>
                  <a:gd name="connsiteY148" fmla="*/ 356719 h 1293982"/>
                  <a:gd name="connsiteX149" fmla="*/ 990283 w 1312862"/>
                  <a:gd name="connsiteY149" fmla="*/ 357433 h 1293982"/>
                  <a:gd name="connsiteX150" fmla="*/ 1002401 w 1312862"/>
                  <a:gd name="connsiteY150" fmla="*/ 358147 h 1293982"/>
                  <a:gd name="connsiteX151" fmla="*/ 1014519 w 1312862"/>
                  <a:gd name="connsiteY151" fmla="*/ 358147 h 1293982"/>
                  <a:gd name="connsiteX152" fmla="*/ 1019509 w 1312862"/>
                  <a:gd name="connsiteY152" fmla="*/ 358861 h 1293982"/>
                  <a:gd name="connsiteX153" fmla="*/ 1026637 w 1312862"/>
                  <a:gd name="connsiteY153" fmla="*/ 358147 h 1293982"/>
                  <a:gd name="connsiteX154" fmla="*/ 1038042 w 1312862"/>
                  <a:gd name="connsiteY154" fmla="*/ 356719 h 1293982"/>
                  <a:gd name="connsiteX155" fmla="*/ 1070119 w 1312862"/>
                  <a:gd name="connsiteY155" fmla="*/ 345291 h 1293982"/>
                  <a:gd name="connsiteX156" fmla="*/ 1281112 w 1312862"/>
                  <a:gd name="connsiteY156" fmla="*/ 224592 h 1293982"/>
                  <a:gd name="connsiteX157" fmla="*/ 1281112 w 1312862"/>
                  <a:gd name="connsiteY157" fmla="*/ 38186 h 1293982"/>
                  <a:gd name="connsiteX158" fmla="*/ 1291431 w 1312862"/>
                  <a:gd name="connsiteY158" fmla="*/ 1190 h 1293982"/>
                  <a:gd name="connsiteX159" fmla="*/ 1312862 w 1312862"/>
                  <a:gd name="connsiteY159" fmla="*/ 15455 h 1293982"/>
                  <a:gd name="connsiteX160" fmla="*/ 1312862 w 1312862"/>
                  <a:gd name="connsiteY160" fmla="*/ 234415 h 1293982"/>
                  <a:gd name="connsiteX161" fmla="*/ 1305004 w 1312862"/>
                  <a:gd name="connsiteY161" fmla="*/ 247966 h 1293982"/>
                  <a:gd name="connsiteX162" fmla="*/ 1085691 w 1312862"/>
                  <a:gd name="connsiteY162" fmla="*/ 372781 h 1293982"/>
                  <a:gd name="connsiteX163" fmla="*/ 1043543 w 1312862"/>
                  <a:gd name="connsiteY163" fmla="*/ 388471 h 1293982"/>
                  <a:gd name="connsiteX164" fmla="*/ 1028541 w 1312862"/>
                  <a:gd name="connsiteY164" fmla="*/ 389898 h 1293982"/>
                  <a:gd name="connsiteX165" fmla="*/ 1019254 w 1312862"/>
                  <a:gd name="connsiteY165" fmla="*/ 390611 h 1293982"/>
                  <a:gd name="connsiteX166" fmla="*/ 1013539 w 1312862"/>
                  <a:gd name="connsiteY166" fmla="*/ 389898 h 1293982"/>
                  <a:gd name="connsiteX167" fmla="*/ 1012110 w 1312862"/>
                  <a:gd name="connsiteY167" fmla="*/ 389898 h 1293982"/>
                  <a:gd name="connsiteX168" fmla="*/ 787797 w 1312862"/>
                  <a:gd name="connsiteY168" fmla="*/ 378486 h 1293982"/>
                  <a:gd name="connsiteX169" fmla="*/ 735647 w 1312862"/>
                  <a:gd name="connsiteY169" fmla="*/ 323568 h 1293982"/>
                  <a:gd name="connsiteX170" fmla="*/ 739219 w 1312862"/>
                  <a:gd name="connsiteY170" fmla="*/ 302885 h 1293982"/>
                  <a:gd name="connsiteX171" fmla="*/ 785653 w 1312862"/>
                  <a:gd name="connsiteY171" fmla="*/ 267937 h 1293982"/>
                  <a:gd name="connsiteX172" fmla="*/ 867092 w 1312862"/>
                  <a:gd name="connsiteY172" fmla="*/ 260091 h 1293982"/>
                  <a:gd name="connsiteX173" fmla="*/ 854233 w 1312862"/>
                  <a:gd name="connsiteY173" fmla="*/ 255098 h 1293982"/>
                  <a:gd name="connsiteX174" fmla="*/ 817086 w 1312862"/>
                  <a:gd name="connsiteY174" fmla="*/ 244400 h 1293982"/>
                  <a:gd name="connsiteX175" fmla="*/ 784939 w 1312862"/>
                  <a:gd name="connsiteY175" fmla="*/ 241547 h 1293982"/>
                  <a:gd name="connsiteX176" fmla="*/ 782796 w 1312862"/>
                  <a:gd name="connsiteY176" fmla="*/ 241547 h 1293982"/>
                  <a:gd name="connsiteX177" fmla="*/ 732075 w 1312862"/>
                  <a:gd name="connsiteY177" fmla="*/ 248679 h 1293982"/>
                  <a:gd name="connsiteX178" fmla="*/ 727075 w 1312862"/>
                  <a:gd name="connsiteY178" fmla="*/ 249393 h 1293982"/>
                  <a:gd name="connsiteX179" fmla="*/ 683498 w 1312862"/>
                  <a:gd name="connsiteY179" fmla="*/ 267223 h 1293982"/>
                  <a:gd name="connsiteX180" fmla="*/ 662067 w 1312862"/>
                  <a:gd name="connsiteY180" fmla="*/ 280775 h 1293982"/>
                  <a:gd name="connsiteX181" fmla="*/ 653494 w 1312862"/>
                  <a:gd name="connsiteY181" fmla="*/ 287194 h 1293982"/>
                  <a:gd name="connsiteX182" fmla="*/ 628491 w 1312862"/>
                  <a:gd name="connsiteY182" fmla="*/ 311443 h 1293982"/>
                  <a:gd name="connsiteX183" fmla="*/ 593487 w 1312862"/>
                  <a:gd name="connsiteY183" fmla="*/ 350671 h 1293982"/>
                  <a:gd name="connsiteX184" fmla="*/ 548481 w 1312862"/>
                  <a:gd name="connsiteY184" fmla="*/ 370641 h 1293982"/>
                  <a:gd name="connsiteX185" fmla="*/ 504190 w 1312862"/>
                  <a:gd name="connsiteY185" fmla="*/ 351384 h 1293982"/>
                  <a:gd name="connsiteX186" fmla="*/ 504190 w 1312862"/>
                  <a:gd name="connsiteY186" fmla="*/ 272216 h 1293982"/>
                  <a:gd name="connsiteX187" fmla="*/ 537051 w 1312862"/>
                  <a:gd name="connsiteY187" fmla="*/ 232988 h 1293982"/>
                  <a:gd name="connsiteX188" fmla="*/ 706358 w 1312862"/>
                  <a:gd name="connsiteY188" fmla="*/ 121012 h 1293982"/>
                  <a:gd name="connsiteX189" fmla="*/ 715645 w 1312862"/>
                  <a:gd name="connsiteY189" fmla="*/ 118159 h 1293982"/>
                  <a:gd name="connsiteX190" fmla="*/ 867807 w 1312862"/>
                  <a:gd name="connsiteY190" fmla="*/ 95336 h 1293982"/>
                  <a:gd name="connsiteX191" fmla="*/ 904240 w 1312862"/>
                  <a:gd name="connsiteY191" fmla="*/ 96049 h 1293982"/>
                  <a:gd name="connsiteX192" fmla="*/ 991393 w 1312862"/>
                  <a:gd name="connsiteY192" fmla="*/ 102468 h 1293982"/>
                  <a:gd name="connsiteX193" fmla="*/ 1001395 w 1312862"/>
                  <a:gd name="connsiteY193" fmla="*/ 103182 h 1293982"/>
                  <a:gd name="connsiteX194" fmla="*/ 1052115 w 1312862"/>
                  <a:gd name="connsiteY194" fmla="*/ 93910 h 1293982"/>
                  <a:gd name="connsiteX195" fmla="*/ 1291431 w 1312862"/>
                  <a:gd name="connsiteY195" fmla="*/ 1190 h 129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312862" h="1293982">
                    <a:moveTo>
                      <a:pt x="292611" y="935122"/>
                    </a:moveTo>
                    <a:cubicBezTo>
                      <a:pt x="290466" y="935122"/>
                      <a:pt x="288320" y="935122"/>
                      <a:pt x="286175" y="935836"/>
                    </a:cubicBezTo>
                    <a:cubicBezTo>
                      <a:pt x="281884" y="935836"/>
                      <a:pt x="278309" y="936551"/>
                      <a:pt x="274733" y="937265"/>
                    </a:cubicBezTo>
                    <a:cubicBezTo>
                      <a:pt x="263291" y="939407"/>
                      <a:pt x="252565" y="942978"/>
                      <a:pt x="241838" y="948692"/>
                    </a:cubicBezTo>
                    <a:cubicBezTo>
                      <a:pt x="241838" y="948692"/>
                      <a:pt x="241838" y="948692"/>
                      <a:pt x="30163" y="1069391"/>
                    </a:cubicBezTo>
                    <a:cubicBezTo>
                      <a:pt x="30163" y="1069391"/>
                      <a:pt x="30163" y="1069391"/>
                      <a:pt x="30163" y="1255797"/>
                    </a:cubicBezTo>
                    <a:cubicBezTo>
                      <a:pt x="30163" y="1255797"/>
                      <a:pt x="30163" y="1255797"/>
                      <a:pt x="248989" y="1171522"/>
                    </a:cubicBezTo>
                    <a:cubicBezTo>
                      <a:pt x="268297" y="1164380"/>
                      <a:pt x="289036" y="1160095"/>
                      <a:pt x="310489" y="1160095"/>
                    </a:cubicBezTo>
                    <a:cubicBezTo>
                      <a:pt x="314780" y="1160095"/>
                      <a:pt x="319070" y="1160095"/>
                      <a:pt x="322646" y="1160809"/>
                    </a:cubicBezTo>
                    <a:cubicBezTo>
                      <a:pt x="322646" y="1160809"/>
                      <a:pt x="322646" y="1160809"/>
                      <a:pt x="410605" y="1167237"/>
                    </a:cubicBezTo>
                    <a:cubicBezTo>
                      <a:pt x="422047" y="1167951"/>
                      <a:pt x="433489" y="1167951"/>
                      <a:pt x="444931" y="1167951"/>
                    </a:cubicBezTo>
                    <a:cubicBezTo>
                      <a:pt x="493559" y="1167951"/>
                      <a:pt x="541472" y="1160809"/>
                      <a:pt x="587954" y="1146525"/>
                    </a:cubicBezTo>
                    <a:cubicBezTo>
                      <a:pt x="587954" y="1146525"/>
                      <a:pt x="587954" y="1146525"/>
                      <a:pt x="597251" y="1143668"/>
                    </a:cubicBezTo>
                    <a:cubicBezTo>
                      <a:pt x="657321" y="1125099"/>
                      <a:pt x="710954" y="1089389"/>
                      <a:pt x="751716" y="1040823"/>
                    </a:cubicBezTo>
                    <a:cubicBezTo>
                      <a:pt x="751716" y="1040823"/>
                      <a:pt x="751716" y="1040823"/>
                      <a:pt x="785327" y="1001543"/>
                    </a:cubicBezTo>
                    <a:cubicBezTo>
                      <a:pt x="795338" y="989401"/>
                      <a:pt x="793908" y="972260"/>
                      <a:pt x="783181" y="962262"/>
                    </a:cubicBezTo>
                    <a:cubicBezTo>
                      <a:pt x="777460" y="957262"/>
                      <a:pt x="771024" y="955120"/>
                      <a:pt x="763873" y="955120"/>
                    </a:cubicBezTo>
                    <a:cubicBezTo>
                      <a:pt x="756007" y="955120"/>
                      <a:pt x="748141" y="958691"/>
                      <a:pt x="743135" y="964404"/>
                    </a:cubicBezTo>
                    <a:cubicBezTo>
                      <a:pt x="743135" y="964404"/>
                      <a:pt x="743135" y="964404"/>
                      <a:pt x="737414" y="970832"/>
                    </a:cubicBezTo>
                    <a:cubicBezTo>
                      <a:pt x="737414" y="970832"/>
                      <a:pt x="737414" y="970832"/>
                      <a:pt x="708094" y="1004399"/>
                    </a:cubicBezTo>
                    <a:cubicBezTo>
                      <a:pt x="698797" y="1014398"/>
                      <a:pt x="689501" y="1022969"/>
                      <a:pt x="678774" y="1031539"/>
                    </a:cubicBezTo>
                    <a:cubicBezTo>
                      <a:pt x="675914" y="1034396"/>
                      <a:pt x="672338" y="1036538"/>
                      <a:pt x="668763" y="1039395"/>
                    </a:cubicBezTo>
                    <a:cubicBezTo>
                      <a:pt x="660896" y="1045109"/>
                      <a:pt x="653030" y="1050108"/>
                      <a:pt x="644449" y="1054393"/>
                    </a:cubicBezTo>
                    <a:cubicBezTo>
                      <a:pt x="628716" y="1062964"/>
                      <a:pt x="611553" y="1070106"/>
                      <a:pt x="594390" y="1075105"/>
                    </a:cubicBezTo>
                    <a:cubicBezTo>
                      <a:pt x="594390" y="1075105"/>
                      <a:pt x="594390" y="1075105"/>
                      <a:pt x="589385" y="1076533"/>
                    </a:cubicBezTo>
                    <a:cubicBezTo>
                      <a:pt x="570076" y="1081533"/>
                      <a:pt x="549338" y="1084390"/>
                      <a:pt x="529315" y="1084390"/>
                    </a:cubicBezTo>
                    <a:cubicBezTo>
                      <a:pt x="528600" y="1084390"/>
                      <a:pt x="527885" y="1084390"/>
                      <a:pt x="527169" y="1084390"/>
                    </a:cubicBezTo>
                    <a:cubicBezTo>
                      <a:pt x="514297" y="1084390"/>
                      <a:pt x="502140" y="1082961"/>
                      <a:pt x="489983" y="1080819"/>
                    </a:cubicBezTo>
                    <a:cubicBezTo>
                      <a:pt x="474966" y="1078676"/>
                      <a:pt x="460664" y="1074391"/>
                      <a:pt x="446361" y="1068677"/>
                    </a:cubicBezTo>
                    <a:cubicBezTo>
                      <a:pt x="446361" y="1068677"/>
                      <a:pt x="446361" y="1068677"/>
                      <a:pt x="427768" y="1060821"/>
                    </a:cubicBezTo>
                    <a:cubicBezTo>
                      <a:pt x="417041" y="1056536"/>
                      <a:pt x="409175" y="1046537"/>
                      <a:pt x="409175" y="1034396"/>
                    </a:cubicBezTo>
                    <a:cubicBezTo>
                      <a:pt x="409175" y="1034396"/>
                      <a:pt x="409175" y="1033681"/>
                      <a:pt x="409175" y="1032967"/>
                    </a:cubicBezTo>
                    <a:cubicBezTo>
                      <a:pt x="409175" y="1031539"/>
                      <a:pt x="409175" y="1030110"/>
                      <a:pt x="409175" y="1029396"/>
                    </a:cubicBezTo>
                    <a:cubicBezTo>
                      <a:pt x="409890" y="1027254"/>
                      <a:pt x="409890" y="1025111"/>
                      <a:pt x="410605" y="1022969"/>
                    </a:cubicBezTo>
                    <a:cubicBezTo>
                      <a:pt x="411321" y="1022254"/>
                      <a:pt x="411321" y="1021540"/>
                      <a:pt x="411321" y="1020826"/>
                    </a:cubicBezTo>
                    <a:cubicBezTo>
                      <a:pt x="412751" y="1017969"/>
                      <a:pt x="414896" y="1015827"/>
                      <a:pt x="417041" y="1012970"/>
                    </a:cubicBezTo>
                    <a:cubicBezTo>
                      <a:pt x="417041" y="1012970"/>
                      <a:pt x="417757" y="1012256"/>
                      <a:pt x="418472" y="1011541"/>
                    </a:cubicBezTo>
                    <a:cubicBezTo>
                      <a:pt x="422762" y="1007256"/>
                      <a:pt x="429198" y="1004399"/>
                      <a:pt x="436350" y="1003685"/>
                    </a:cubicBezTo>
                    <a:cubicBezTo>
                      <a:pt x="436350" y="1003685"/>
                      <a:pt x="436350" y="1003685"/>
                      <a:pt x="523594" y="995115"/>
                    </a:cubicBezTo>
                    <a:cubicBezTo>
                      <a:pt x="532890" y="994401"/>
                      <a:pt x="540757" y="987973"/>
                      <a:pt x="543617" y="980117"/>
                    </a:cubicBezTo>
                    <a:cubicBezTo>
                      <a:pt x="545047" y="977260"/>
                      <a:pt x="545762" y="974403"/>
                      <a:pt x="545762" y="970832"/>
                    </a:cubicBezTo>
                    <a:cubicBezTo>
                      <a:pt x="545762" y="957976"/>
                      <a:pt x="535751" y="947978"/>
                      <a:pt x="522879" y="947263"/>
                    </a:cubicBezTo>
                    <a:cubicBezTo>
                      <a:pt x="522879" y="947263"/>
                      <a:pt x="522879" y="947263"/>
                      <a:pt x="331227" y="937265"/>
                    </a:cubicBezTo>
                    <a:cubicBezTo>
                      <a:pt x="331227" y="937265"/>
                      <a:pt x="331227" y="937265"/>
                      <a:pt x="322646" y="936551"/>
                    </a:cubicBezTo>
                    <a:cubicBezTo>
                      <a:pt x="322646" y="936551"/>
                      <a:pt x="322646" y="936551"/>
                      <a:pt x="309774" y="935836"/>
                    </a:cubicBezTo>
                    <a:cubicBezTo>
                      <a:pt x="309774" y="935836"/>
                      <a:pt x="309774" y="935836"/>
                      <a:pt x="298332" y="935836"/>
                    </a:cubicBezTo>
                    <a:cubicBezTo>
                      <a:pt x="298332" y="935836"/>
                      <a:pt x="297617" y="935836"/>
                      <a:pt x="297617" y="935836"/>
                    </a:cubicBezTo>
                    <a:cubicBezTo>
                      <a:pt x="296187" y="935122"/>
                      <a:pt x="294756" y="935122"/>
                      <a:pt x="292611" y="935122"/>
                    </a:cubicBezTo>
                    <a:close/>
                    <a:moveTo>
                      <a:pt x="293046" y="903372"/>
                    </a:moveTo>
                    <a:cubicBezTo>
                      <a:pt x="295185" y="903372"/>
                      <a:pt x="297324" y="903372"/>
                      <a:pt x="299463" y="904085"/>
                    </a:cubicBezTo>
                    <a:cubicBezTo>
                      <a:pt x="300889" y="904085"/>
                      <a:pt x="300889" y="904085"/>
                      <a:pt x="300889" y="904085"/>
                    </a:cubicBezTo>
                    <a:cubicBezTo>
                      <a:pt x="524060" y="915497"/>
                      <a:pt x="524060" y="915497"/>
                      <a:pt x="524060" y="915497"/>
                    </a:cubicBezTo>
                    <a:cubicBezTo>
                      <a:pt x="553294" y="916923"/>
                      <a:pt x="576823" y="941173"/>
                      <a:pt x="576823" y="970415"/>
                    </a:cubicBezTo>
                    <a:cubicBezTo>
                      <a:pt x="576823" y="977547"/>
                      <a:pt x="575397" y="984680"/>
                      <a:pt x="572545" y="991099"/>
                    </a:cubicBezTo>
                    <a:cubicBezTo>
                      <a:pt x="565415" y="1010356"/>
                      <a:pt x="547590" y="1023907"/>
                      <a:pt x="526912" y="1026047"/>
                    </a:cubicBezTo>
                    <a:cubicBezTo>
                      <a:pt x="444917" y="1033892"/>
                      <a:pt x="444917" y="1033892"/>
                      <a:pt x="444917" y="1033892"/>
                    </a:cubicBezTo>
                    <a:cubicBezTo>
                      <a:pt x="457751" y="1038885"/>
                      <a:pt x="457751" y="1038885"/>
                      <a:pt x="457751" y="1038885"/>
                    </a:cubicBezTo>
                    <a:cubicBezTo>
                      <a:pt x="469872" y="1043877"/>
                      <a:pt x="482706" y="1047444"/>
                      <a:pt x="495540" y="1049583"/>
                    </a:cubicBezTo>
                    <a:cubicBezTo>
                      <a:pt x="505522" y="1051723"/>
                      <a:pt x="516217" y="1052436"/>
                      <a:pt x="526912" y="1052436"/>
                    </a:cubicBezTo>
                    <a:cubicBezTo>
                      <a:pt x="529051" y="1052436"/>
                      <a:pt x="529051" y="1052436"/>
                      <a:pt x="529051" y="1052436"/>
                    </a:cubicBezTo>
                    <a:cubicBezTo>
                      <a:pt x="546164" y="1052436"/>
                      <a:pt x="563989" y="1050296"/>
                      <a:pt x="580388" y="1045304"/>
                    </a:cubicBezTo>
                    <a:cubicBezTo>
                      <a:pt x="585379" y="1044591"/>
                      <a:pt x="585379" y="1044591"/>
                      <a:pt x="585379" y="1044591"/>
                    </a:cubicBezTo>
                    <a:cubicBezTo>
                      <a:pt x="600352" y="1040311"/>
                      <a:pt x="615325" y="1033892"/>
                      <a:pt x="628872" y="1026760"/>
                    </a:cubicBezTo>
                    <a:cubicBezTo>
                      <a:pt x="636002" y="1022481"/>
                      <a:pt x="643132" y="1018201"/>
                      <a:pt x="649550" y="1013209"/>
                    </a:cubicBezTo>
                    <a:cubicBezTo>
                      <a:pt x="652402" y="1011069"/>
                      <a:pt x="655967" y="1008929"/>
                      <a:pt x="658819" y="1006790"/>
                    </a:cubicBezTo>
                    <a:cubicBezTo>
                      <a:pt x="667375" y="999657"/>
                      <a:pt x="675931" y="991099"/>
                      <a:pt x="683774" y="982540"/>
                    </a:cubicBezTo>
                    <a:cubicBezTo>
                      <a:pt x="718711" y="943313"/>
                      <a:pt x="718711" y="943313"/>
                      <a:pt x="718711" y="943313"/>
                    </a:cubicBezTo>
                    <a:cubicBezTo>
                      <a:pt x="730119" y="930475"/>
                      <a:pt x="745805" y="923342"/>
                      <a:pt x="762918" y="923342"/>
                    </a:cubicBezTo>
                    <a:cubicBezTo>
                      <a:pt x="780030" y="923342"/>
                      <a:pt x="795716" y="930475"/>
                      <a:pt x="807124" y="942599"/>
                    </a:cubicBezTo>
                    <a:cubicBezTo>
                      <a:pt x="827088" y="964709"/>
                      <a:pt x="827088" y="998944"/>
                      <a:pt x="807837" y="1021767"/>
                    </a:cubicBezTo>
                    <a:cubicBezTo>
                      <a:pt x="775039" y="1060995"/>
                      <a:pt x="775039" y="1060995"/>
                      <a:pt x="775039" y="1060995"/>
                    </a:cubicBezTo>
                    <a:cubicBezTo>
                      <a:pt x="730119" y="1113773"/>
                      <a:pt x="671653" y="1152288"/>
                      <a:pt x="606056" y="1172971"/>
                    </a:cubicBezTo>
                    <a:cubicBezTo>
                      <a:pt x="596787" y="1175824"/>
                      <a:pt x="596787" y="1175824"/>
                      <a:pt x="596787" y="1175824"/>
                    </a:cubicBezTo>
                    <a:cubicBezTo>
                      <a:pt x="547590" y="1190802"/>
                      <a:pt x="496253" y="1198647"/>
                      <a:pt x="444917" y="1198647"/>
                    </a:cubicBezTo>
                    <a:cubicBezTo>
                      <a:pt x="432795" y="1198647"/>
                      <a:pt x="420674" y="1198647"/>
                      <a:pt x="408553" y="1197934"/>
                    </a:cubicBezTo>
                    <a:cubicBezTo>
                      <a:pt x="320853" y="1191515"/>
                      <a:pt x="320853" y="1191515"/>
                      <a:pt x="320853" y="1191515"/>
                    </a:cubicBezTo>
                    <a:cubicBezTo>
                      <a:pt x="318001" y="1190802"/>
                      <a:pt x="314436" y="1190802"/>
                      <a:pt x="310871" y="1190802"/>
                    </a:cubicBezTo>
                    <a:cubicBezTo>
                      <a:pt x="293759" y="1190802"/>
                      <a:pt x="276647" y="1194368"/>
                      <a:pt x="260961" y="1200074"/>
                    </a:cubicBezTo>
                    <a:cubicBezTo>
                      <a:pt x="21390" y="1292793"/>
                      <a:pt x="21390" y="1292793"/>
                      <a:pt x="21390" y="1292793"/>
                    </a:cubicBezTo>
                    <a:cubicBezTo>
                      <a:pt x="11408" y="1297072"/>
                      <a:pt x="0" y="1289227"/>
                      <a:pt x="0" y="1278528"/>
                    </a:cubicBezTo>
                    <a:lnTo>
                      <a:pt x="0" y="1059568"/>
                    </a:lnTo>
                    <a:cubicBezTo>
                      <a:pt x="0" y="1053863"/>
                      <a:pt x="3565" y="1048870"/>
                      <a:pt x="8556" y="1046017"/>
                    </a:cubicBezTo>
                    <a:cubicBezTo>
                      <a:pt x="227449" y="921203"/>
                      <a:pt x="227449" y="921203"/>
                      <a:pt x="227449" y="921203"/>
                    </a:cubicBezTo>
                    <a:cubicBezTo>
                      <a:pt x="240284" y="913357"/>
                      <a:pt x="254544" y="908365"/>
                      <a:pt x="269517" y="905512"/>
                    </a:cubicBezTo>
                    <a:cubicBezTo>
                      <a:pt x="274508" y="904799"/>
                      <a:pt x="279499" y="904085"/>
                      <a:pt x="284490" y="904085"/>
                    </a:cubicBezTo>
                    <a:cubicBezTo>
                      <a:pt x="287342" y="904085"/>
                      <a:pt x="290194" y="903372"/>
                      <a:pt x="293046" y="903372"/>
                    </a:cubicBezTo>
                    <a:close/>
                    <a:moveTo>
                      <a:pt x="659587" y="403310"/>
                    </a:moveTo>
                    <a:cubicBezTo>
                      <a:pt x="659587" y="403310"/>
                      <a:pt x="659587" y="403310"/>
                      <a:pt x="535978" y="441853"/>
                    </a:cubicBezTo>
                    <a:cubicBezTo>
                      <a:pt x="535978" y="441853"/>
                      <a:pt x="535978" y="441853"/>
                      <a:pt x="315912" y="677394"/>
                    </a:cubicBezTo>
                    <a:cubicBezTo>
                      <a:pt x="315912" y="677394"/>
                      <a:pt x="315912" y="677394"/>
                      <a:pt x="518116" y="863685"/>
                    </a:cubicBezTo>
                    <a:cubicBezTo>
                      <a:pt x="518116" y="863685"/>
                      <a:pt x="518116" y="863685"/>
                      <a:pt x="737468" y="627431"/>
                    </a:cubicBezTo>
                    <a:cubicBezTo>
                      <a:pt x="737468" y="627431"/>
                      <a:pt x="737468" y="627431"/>
                      <a:pt x="766762" y="501095"/>
                    </a:cubicBezTo>
                    <a:cubicBezTo>
                      <a:pt x="766762" y="501095"/>
                      <a:pt x="766762" y="501095"/>
                      <a:pt x="659587" y="403310"/>
                    </a:cubicBezTo>
                    <a:close/>
                    <a:moveTo>
                      <a:pt x="653979" y="374574"/>
                    </a:moveTo>
                    <a:cubicBezTo>
                      <a:pt x="653979" y="374574"/>
                      <a:pt x="654693" y="374574"/>
                      <a:pt x="655407" y="374574"/>
                    </a:cubicBezTo>
                    <a:cubicBezTo>
                      <a:pt x="663260" y="373147"/>
                      <a:pt x="669685" y="374574"/>
                      <a:pt x="674683" y="379569"/>
                    </a:cubicBezTo>
                    <a:cubicBezTo>
                      <a:pt x="674683" y="379569"/>
                      <a:pt x="674683" y="379569"/>
                      <a:pt x="787484" y="483027"/>
                    </a:cubicBezTo>
                    <a:cubicBezTo>
                      <a:pt x="793195" y="488022"/>
                      <a:pt x="795337" y="495157"/>
                      <a:pt x="793909" y="502292"/>
                    </a:cubicBezTo>
                    <a:cubicBezTo>
                      <a:pt x="793909" y="502292"/>
                      <a:pt x="793909" y="502292"/>
                      <a:pt x="793909" y="503006"/>
                    </a:cubicBezTo>
                    <a:cubicBezTo>
                      <a:pt x="793909" y="503006"/>
                      <a:pt x="793909" y="503006"/>
                      <a:pt x="763210" y="637859"/>
                    </a:cubicBezTo>
                    <a:cubicBezTo>
                      <a:pt x="762496" y="639999"/>
                      <a:pt x="761069" y="642140"/>
                      <a:pt x="759641" y="644280"/>
                    </a:cubicBezTo>
                    <a:cubicBezTo>
                      <a:pt x="759641" y="644280"/>
                      <a:pt x="759641" y="644280"/>
                      <a:pt x="533324" y="888300"/>
                    </a:cubicBezTo>
                    <a:cubicBezTo>
                      <a:pt x="529041" y="892581"/>
                      <a:pt x="524043" y="894722"/>
                      <a:pt x="518332" y="895435"/>
                    </a:cubicBezTo>
                    <a:cubicBezTo>
                      <a:pt x="518332" y="895435"/>
                      <a:pt x="518332" y="895435"/>
                      <a:pt x="517618" y="895435"/>
                    </a:cubicBezTo>
                    <a:cubicBezTo>
                      <a:pt x="511906" y="895435"/>
                      <a:pt x="506909" y="893295"/>
                      <a:pt x="502625" y="889727"/>
                    </a:cubicBezTo>
                    <a:cubicBezTo>
                      <a:pt x="502625" y="889727"/>
                      <a:pt x="502625" y="889727"/>
                      <a:pt x="291302" y="692799"/>
                    </a:cubicBezTo>
                    <a:cubicBezTo>
                      <a:pt x="287018" y="689231"/>
                      <a:pt x="284876" y="683523"/>
                      <a:pt x="284162" y="677815"/>
                    </a:cubicBezTo>
                    <a:cubicBezTo>
                      <a:pt x="284162" y="672107"/>
                      <a:pt x="286304" y="667113"/>
                      <a:pt x="289874" y="663545"/>
                    </a:cubicBezTo>
                    <a:cubicBezTo>
                      <a:pt x="289874" y="663545"/>
                      <a:pt x="289874" y="663545"/>
                      <a:pt x="516190" y="419525"/>
                    </a:cubicBezTo>
                    <a:cubicBezTo>
                      <a:pt x="518332" y="417385"/>
                      <a:pt x="520474" y="415958"/>
                      <a:pt x="522615" y="415244"/>
                    </a:cubicBezTo>
                    <a:cubicBezTo>
                      <a:pt x="522615" y="415244"/>
                      <a:pt x="522615" y="415244"/>
                      <a:pt x="653979" y="374574"/>
                    </a:cubicBezTo>
                    <a:close/>
                    <a:moveTo>
                      <a:pt x="1281112" y="38186"/>
                    </a:moveTo>
                    <a:cubicBezTo>
                      <a:pt x="1281112" y="38186"/>
                      <a:pt x="1281112" y="38186"/>
                      <a:pt x="1063703" y="122462"/>
                    </a:cubicBezTo>
                    <a:cubicBezTo>
                      <a:pt x="1043745" y="129604"/>
                      <a:pt x="1023073" y="133889"/>
                      <a:pt x="1001688" y="133889"/>
                    </a:cubicBezTo>
                    <a:cubicBezTo>
                      <a:pt x="998124" y="133889"/>
                      <a:pt x="993848" y="133889"/>
                      <a:pt x="989571" y="133174"/>
                    </a:cubicBezTo>
                    <a:cubicBezTo>
                      <a:pt x="989571" y="133174"/>
                      <a:pt x="989571" y="133174"/>
                      <a:pt x="902607" y="126747"/>
                    </a:cubicBezTo>
                    <a:cubicBezTo>
                      <a:pt x="891202" y="126033"/>
                      <a:pt x="879797" y="126033"/>
                      <a:pt x="868392" y="126033"/>
                    </a:cubicBezTo>
                    <a:cubicBezTo>
                      <a:pt x="819920" y="126033"/>
                      <a:pt x="772162" y="133174"/>
                      <a:pt x="725829" y="147458"/>
                    </a:cubicBezTo>
                    <a:cubicBezTo>
                      <a:pt x="725829" y="147458"/>
                      <a:pt x="725829" y="147458"/>
                      <a:pt x="716562" y="150315"/>
                    </a:cubicBezTo>
                    <a:cubicBezTo>
                      <a:pt x="656686" y="168884"/>
                      <a:pt x="603225" y="204594"/>
                      <a:pt x="562594" y="253160"/>
                    </a:cubicBezTo>
                    <a:cubicBezTo>
                      <a:pt x="562594" y="253160"/>
                      <a:pt x="562594" y="253160"/>
                      <a:pt x="528379" y="292441"/>
                    </a:cubicBezTo>
                    <a:cubicBezTo>
                      <a:pt x="519112" y="304582"/>
                      <a:pt x="519825" y="321723"/>
                      <a:pt x="531230" y="331722"/>
                    </a:cubicBezTo>
                    <a:cubicBezTo>
                      <a:pt x="536220" y="336721"/>
                      <a:pt x="543348" y="338864"/>
                      <a:pt x="549763" y="338864"/>
                    </a:cubicBezTo>
                    <a:cubicBezTo>
                      <a:pt x="558317" y="338864"/>
                      <a:pt x="565445" y="335293"/>
                      <a:pt x="571148" y="329579"/>
                    </a:cubicBezTo>
                    <a:cubicBezTo>
                      <a:pt x="571148" y="329579"/>
                      <a:pt x="571148" y="329579"/>
                      <a:pt x="576850" y="323151"/>
                    </a:cubicBezTo>
                    <a:cubicBezTo>
                      <a:pt x="576850" y="323151"/>
                      <a:pt x="576850" y="323151"/>
                      <a:pt x="606076" y="289584"/>
                    </a:cubicBezTo>
                    <a:cubicBezTo>
                      <a:pt x="614630" y="279585"/>
                      <a:pt x="624609" y="271015"/>
                      <a:pt x="634588" y="262444"/>
                    </a:cubicBezTo>
                    <a:cubicBezTo>
                      <a:pt x="638152" y="259588"/>
                      <a:pt x="641717" y="257445"/>
                      <a:pt x="644568" y="254588"/>
                    </a:cubicBezTo>
                    <a:cubicBezTo>
                      <a:pt x="652409" y="248875"/>
                      <a:pt x="660963" y="243875"/>
                      <a:pt x="668804" y="239590"/>
                    </a:cubicBezTo>
                    <a:cubicBezTo>
                      <a:pt x="685198" y="231020"/>
                      <a:pt x="701593" y="223878"/>
                      <a:pt x="719413" y="218878"/>
                    </a:cubicBezTo>
                    <a:cubicBezTo>
                      <a:pt x="719413" y="218878"/>
                      <a:pt x="719413" y="218878"/>
                      <a:pt x="724403" y="217450"/>
                    </a:cubicBezTo>
                    <a:cubicBezTo>
                      <a:pt x="743649" y="212450"/>
                      <a:pt x="763608" y="209594"/>
                      <a:pt x="783567" y="209594"/>
                    </a:cubicBezTo>
                    <a:cubicBezTo>
                      <a:pt x="784992" y="209594"/>
                      <a:pt x="785705" y="209594"/>
                      <a:pt x="786418" y="209594"/>
                    </a:cubicBezTo>
                    <a:cubicBezTo>
                      <a:pt x="798536" y="209594"/>
                      <a:pt x="811367" y="211022"/>
                      <a:pt x="823485" y="213165"/>
                    </a:cubicBezTo>
                    <a:cubicBezTo>
                      <a:pt x="837741" y="215307"/>
                      <a:pt x="852710" y="219592"/>
                      <a:pt x="866966" y="225306"/>
                    </a:cubicBezTo>
                    <a:cubicBezTo>
                      <a:pt x="866966" y="225306"/>
                      <a:pt x="866966" y="225306"/>
                      <a:pt x="885500" y="233162"/>
                    </a:cubicBezTo>
                    <a:cubicBezTo>
                      <a:pt x="896192" y="237447"/>
                      <a:pt x="903320" y="247446"/>
                      <a:pt x="904033" y="259588"/>
                    </a:cubicBezTo>
                    <a:cubicBezTo>
                      <a:pt x="904033" y="259588"/>
                      <a:pt x="904033" y="260302"/>
                      <a:pt x="904033" y="261016"/>
                    </a:cubicBezTo>
                    <a:cubicBezTo>
                      <a:pt x="904033" y="262444"/>
                      <a:pt x="904033" y="263873"/>
                      <a:pt x="903320" y="264587"/>
                    </a:cubicBezTo>
                    <a:cubicBezTo>
                      <a:pt x="903320" y="266730"/>
                      <a:pt x="902607" y="268872"/>
                      <a:pt x="901894" y="271015"/>
                    </a:cubicBezTo>
                    <a:cubicBezTo>
                      <a:pt x="901894" y="271729"/>
                      <a:pt x="901894" y="272443"/>
                      <a:pt x="901181" y="273157"/>
                    </a:cubicBezTo>
                    <a:cubicBezTo>
                      <a:pt x="899756" y="276014"/>
                      <a:pt x="898330" y="278157"/>
                      <a:pt x="896192" y="281014"/>
                    </a:cubicBezTo>
                    <a:cubicBezTo>
                      <a:pt x="895479" y="281014"/>
                      <a:pt x="895479" y="281728"/>
                      <a:pt x="894766" y="282442"/>
                    </a:cubicBezTo>
                    <a:cubicBezTo>
                      <a:pt x="889776" y="286727"/>
                      <a:pt x="884074" y="289584"/>
                      <a:pt x="876946" y="290298"/>
                    </a:cubicBezTo>
                    <a:cubicBezTo>
                      <a:pt x="876946" y="290298"/>
                      <a:pt x="876946" y="290298"/>
                      <a:pt x="789269" y="298868"/>
                    </a:cubicBezTo>
                    <a:cubicBezTo>
                      <a:pt x="780003" y="299583"/>
                      <a:pt x="772875" y="306010"/>
                      <a:pt x="769311" y="313867"/>
                    </a:cubicBezTo>
                    <a:cubicBezTo>
                      <a:pt x="768598" y="316723"/>
                      <a:pt x="767885" y="319580"/>
                      <a:pt x="767885" y="323151"/>
                    </a:cubicBezTo>
                    <a:cubicBezTo>
                      <a:pt x="767885" y="336007"/>
                      <a:pt x="777864" y="346006"/>
                      <a:pt x="790695" y="346720"/>
                    </a:cubicBezTo>
                    <a:cubicBezTo>
                      <a:pt x="790695" y="346720"/>
                      <a:pt x="790695" y="346720"/>
                      <a:pt x="981017" y="356719"/>
                    </a:cubicBezTo>
                    <a:cubicBezTo>
                      <a:pt x="981017" y="356719"/>
                      <a:pt x="981017" y="356719"/>
                      <a:pt x="990283" y="357433"/>
                    </a:cubicBezTo>
                    <a:cubicBezTo>
                      <a:pt x="990283" y="357433"/>
                      <a:pt x="990283" y="357433"/>
                      <a:pt x="1002401" y="358147"/>
                    </a:cubicBezTo>
                    <a:cubicBezTo>
                      <a:pt x="1002401" y="358147"/>
                      <a:pt x="1002401" y="358147"/>
                      <a:pt x="1014519" y="358147"/>
                    </a:cubicBezTo>
                    <a:cubicBezTo>
                      <a:pt x="1016658" y="358861"/>
                      <a:pt x="1018083" y="358861"/>
                      <a:pt x="1019509" y="358861"/>
                    </a:cubicBezTo>
                    <a:cubicBezTo>
                      <a:pt x="1021647" y="358861"/>
                      <a:pt x="1024499" y="358861"/>
                      <a:pt x="1026637" y="358147"/>
                    </a:cubicBezTo>
                    <a:cubicBezTo>
                      <a:pt x="1030201" y="358147"/>
                      <a:pt x="1034478" y="357433"/>
                      <a:pt x="1038042" y="356719"/>
                    </a:cubicBezTo>
                    <a:cubicBezTo>
                      <a:pt x="1049447" y="354576"/>
                      <a:pt x="1060139" y="351005"/>
                      <a:pt x="1070119" y="345291"/>
                    </a:cubicBezTo>
                    <a:cubicBezTo>
                      <a:pt x="1070119" y="345291"/>
                      <a:pt x="1070119" y="345291"/>
                      <a:pt x="1281112" y="224592"/>
                    </a:cubicBezTo>
                    <a:cubicBezTo>
                      <a:pt x="1281112" y="224592"/>
                      <a:pt x="1281112" y="224592"/>
                      <a:pt x="1281112" y="38186"/>
                    </a:cubicBezTo>
                    <a:close/>
                    <a:moveTo>
                      <a:pt x="1291431" y="1190"/>
                    </a:moveTo>
                    <a:cubicBezTo>
                      <a:pt x="1302147" y="-3089"/>
                      <a:pt x="1312862" y="4757"/>
                      <a:pt x="1312862" y="15455"/>
                    </a:cubicBezTo>
                    <a:lnTo>
                      <a:pt x="1312862" y="234415"/>
                    </a:lnTo>
                    <a:cubicBezTo>
                      <a:pt x="1312862" y="240121"/>
                      <a:pt x="1310005" y="245113"/>
                      <a:pt x="1305004" y="247966"/>
                    </a:cubicBezTo>
                    <a:cubicBezTo>
                      <a:pt x="1085691" y="372781"/>
                      <a:pt x="1085691" y="372781"/>
                      <a:pt x="1085691" y="372781"/>
                    </a:cubicBezTo>
                    <a:cubicBezTo>
                      <a:pt x="1072832" y="380626"/>
                      <a:pt x="1058545" y="385619"/>
                      <a:pt x="1043543" y="388471"/>
                    </a:cubicBezTo>
                    <a:cubicBezTo>
                      <a:pt x="1038542" y="389185"/>
                      <a:pt x="1033542" y="389898"/>
                      <a:pt x="1028541" y="389898"/>
                    </a:cubicBezTo>
                    <a:cubicBezTo>
                      <a:pt x="1025683" y="389898"/>
                      <a:pt x="1022112" y="390611"/>
                      <a:pt x="1019254" y="390611"/>
                    </a:cubicBezTo>
                    <a:cubicBezTo>
                      <a:pt x="1017111" y="390611"/>
                      <a:pt x="1015682" y="390611"/>
                      <a:pt x="1013539" y="389898"/>
                    </a:cubicBezTo>
                    <a:cubicBezTo>
                      <a:pt x="1012110" y="389898"/>
                      <a:pt x="1012110" y="389898"/>
                      <a:pt x="1012110" y="389898"/>
                    </a:cubicBezTo>
                    <a:cubicBezTo>
                      <a:pt x="787797" y="378486"/>
                      <a:pt x="787797" y="378486"/>
                      <a:pt x="787797" y="378486"/>
                    </a:cubicBezTo>
                    <a:cubicBezTo>
                      <a:pt x="758507" y="377060"/>
                      <a:pt x="735647" y="352810"/>
                      <a:pt x="735647" y="323568"/>
                    </a:cubicBezTo>
                    <a:cubicBezTo>
                      <a:pt x="735647" y="316436"/>
                      <a:pt x="737076" y="309304"/>
                      <a:pt x="739219" y="302885"/>
                    </a:cubicBezTo>
                    <a:cubicBezTo>
                      <a:pt x="747077" y="283627"/>
                      <a:pt x="764937" y="270076"/>
                      <a:pt x="785653" y="267937"/>
                    </a:cubicBezTo>
                    <a:cubicBezTo>
                      <a:pt x="867092" y="260091"/>
                      <a:pt x="867092" y="260091"/>
                      <a:pt x="867092" y="260091"/>
                    </a:cubicBezTo>
                    <a:cubicBezTo>
                      <a:pt x="854233" y="255098"/>
                      <a:pt x="854233" y="255098"/>
                      <a:pt x="854233" y="255098"/>
                    </a:cubicBezTo>
                    <a:cubicBezTo>
                      <a:pt x="842089" y="250106"/>
                      <a:pt x="829945" y="246540"/>
                      <a:pt x="817086" y="244400"/>
                    </a:cubicBezTo>
                    <a:cubicBezTo>
                      <a:pt x="806370" y="242260"/>
                      <a:pt x="795655" y="241547"/>
                      <a:pt x="784939" y="241547"/>
                    </a:cubicBezTo>
                    <a:cubicBezTo>
                      <a:pt x="782796" y="241547"/>
                      <a:pt x="782796" y="241547"/>
                      <a:pt x="782796" y="241547"/>
                    </a:cubicBezTo>
                    <a:cubicBezTo>
                      <a:pt x="765651" y="241547"/>
                      <a:pt x="748506" y="243687"/>
                      <a:pt x="732075" y="248679"/>
                    </a:cubicBezTo>
                    <a:cubicBezTo>
                      <a:pt x="727075" y="249393"/>
                      <a:pt x="727075" y="249393"/>
                      <a:pt x="727075" y="249393"/>
                    </a:cubicBezTo>
                    <a:cubicBezTo>
                      <a:pt x="712073" y="253672"/>
                      <a:pt x="697071" y="260091"/>
                      <a:pt x="683498" y="267223"/>
                    </a:cubicBezTo>
                    <a:cubicBezTo>
                      <a:pt x="675640" y="271503"/>
                      <a:pt x="668496" y="275782"/>
                      <a:pt x="662067" y="280775"/>
                    </a:cubicBezTo>
                    <a:cubicBezTo>
                      <a:pt x="659209" y="282914"/>
                      <a:pt x="656352" y="285054"/>
                      <a:pt x="653494" y="287194"/>
                    </a:cubicBezTo>
                    <a:cubicBezTo>
                      <a:pt x="644207" y="294326"/>
                      <a:pt x="636349" y="302885"/>
                      <a:pt x="628491" y="311443"/>
                    </a:cubicBezTo>
                    <a:cubicBezTo>
                      <a:pt x="593487" y="350671"/>
                      <a:pt x="593487" y="350671"/>
                      <a:pt x="593487" y="350671"/>
                    </a:cubicBezTo>
                    <a:cubicBezTo>
                      <a:pt x="582057" y="363509"/>
                      <a:pt x="565626" y="370641"/>
                      <a:pt x="548481" y="370641"/>
                    </a:cubicBezTo>
                    <a:cubicBezTo>
                      <a:pt x="532050" y="370641"/>
                      <a:pt x="515620" y="363509"/>
                      <a:pt x="504190" y="351384"/>
                    </a:cubicBezTo>
                    <a:cubicBezTo>
                      <a:pt x="484187" y="329274"/>
                      <a:pt x="484902" y="295039"/>
                      <a:pt x="504190" y="272216"/>
                    </a:cubicBezTo>
                    <a:cubicBezTo>
                      <a:pt x="537051" y="232988"/>
                      <a:pt x="537051" y="232988"/>
                      <a:pt x="537051" y="232988"/>
                    </a:cubicBezTo>
                    <a:cubicBezTo>
                      <a:pt x="582057" y="180210"/>
                      <a:pt x="639921" y="141696"/>
                      <a:pt x="706358" y="121012"/>
                    </a:cubicBezTo>
                    <a:cubicBezTo>
                      <a:pt x="715645" y="118159"/>
                      <a:pt x="715645" y="118159"/>
                      <a:pt x="715645" y="118159"/>
                    </a:cubicBezTo>
                    <a:cubicBezTo>
                      <a:pt x="764937" y="103182"/>
                      <a:pt x="815657" y="95336"/>
                      <a:pt x="867807" y="95336"/>
                    </a:cubicBezTo>
                    <a:cubicBezTo>
                      <a:pt x="879951" y="95336"/>
                      <a:pt x="892095" y="95336"/>
                      <a:pt x="904240" y="96049"/>
                    </a:cubicBezTo>
                    <a:cubicBezTo>
                      <a:pt x="991393" y="102468"/>
                      <a:pt x="991393" y="102468"/>
                      <a:pt x="991393" y="102468"/>
                    </a:cubicBezTo>
                    <a:cubicBezTo>
                      <a:pt x="994965" y="103182"/>
                      <a:pt x="998537" y="103182"/>
                      <a:pt x="1001395" y="103182"/>
                    </a:cubicBezTo>
                    <a:cubicBezTo>
                      <a:pt x="1019254" y="103182"/>
                      <a:pt x="1035685" y="99615"/>
                      <a:pt x="1052115" y="93910"/>
                    </a:cubicBezTo>
                    <a:cubicBezTo>
                      <a:pt x="1291431" y="1190"/>
                      <a:pt x="1291431" y="1190"/>
                      <a:pt x="1291431" y="119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5" name="Freeform 11"/>
              <p:cNvSpPr>
                <a:spLocks noEditPoints="1"/>
              </p:cNvSpPr>
              <p:nvPr/>
            </p:nvSpPr>
            <p:spPr bwMode="auto">
              <a:xfrm>
                <a:off x="5795963" y="3219450"/>
                <a:ext cx="371475" cy="384175"/>
              </a:xfrm>
              <a:custGeom>
                <a:avLst/>
                <a:gdLst>
                  <a:gd name="T0" fmla="*/ 413 w 522"/>
                  <a:gd name="T1" fmla="*/ 80 h 537"/>
                  <a:gd name="T2" fmla="*/ 378 w 522"/>
                  <a:gd name="T3" fmla="*/ 114 h 537"/>
                  <a:gd name="T4" fmla="*/ 413 w 522"/>
                  <a:gd name="T5" fmla="*/ 148 h 537"/>
                  <a:gd name="T6" fmla="*/ 447 w 522"/>
                  <a:gd name="T7" fmla="*/ 114 h 537"/>
                  <a:gd name="T8" fmla="*/ 413 w 522"/>
                  <a:gd name="T9" fmla="*/ 80 h 537"/>
                  <a:gd name="T10" fmla="*/ 409 w 522"/>
                  <a:gd name="T11" fmla="*/ 0 h 537"/>
                  <a:gd name="T12" fmla="*/ 522 w 522"/>
                  <a:gd name="T13" fmla="*/ 102 h 537"/>
                  <a:gd name="T14" fmla="*/ 485 w 522"/>
                  <a:gd name="T15" fmla="*/ 246 h 537"/>
                  <a:gd name="T16" fmla="*/ 221 w 522"/>
                  <a:gd name="T17" fmla="*/ 537 h 537"/>
                  <a:gd name="T18" fmla="*/ 0 w 522"/>
                  <a:gd name="T19" fmla="*/ 335 h 537"/>
                  <a:gd name="T20" fmla="*/ 269 w 522"/>
                  <a:gd name="T21" fmla="*/ 44 h 537"/>
                  <a:gd name="T22" fmla="*/ 409 w 522"/>
                  <a:gd name="T23" fmla="*/ 0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2" h="537">
                    <a:moveTo>
                      <a:pt x="413" y="80"/>
                    </a:moveTo>
                    <a:cubicBezTo>
                      <a:pt x="394" y="80"/>
                      <a:pt x="378" y="95"/>
                      <a:pt x="378" y="114"/>
                    </a:cubicBezTo>
                    <a:cubicBezTo>
                      <a:pt x="378" y="133"/>
                      <a:pt x="394" y="148"/>
                      <a:pt x="413" y="148"/>
                    </a:cubicBezTo>
                    <a:cubicBezTo>
                      <a:pt x="431" y="148"/>
                      <a:pt x="447" y="133"/>
                      <a:pt x="447" y="114"/>
                    </a:cubicBezTo>
                    <a:cubicBezTo>
                      <a:pt x="447" y="95"/>
                      <a:pt x="431" y="80"/>
                      <a:pt x="413" y="80"/>
                    </a:cubicBezTo>
                    <a:close/>
                    <a:moveTo>
                      <a:pt x="409" y="0"/>
                    </a:moveTo>
                    <a:cubicBezTo>
                      <a:pt x="409" y="0"/>
                      <a:pt x="409" y="0"/>
                      <a:pt x="522" y="102"/>
                    </a:cubicBezTo>
                    <a:cubicBezTo>
                      <a:pt x="522" y="102"/>
                      <a:pt x="522" y="102"/>
                      <a:pt x="485" y="246"/>
                    </a:cubicBezTo>
                    <a:cubicBezTo>
                      <a:pt x="485" y="246"/>
                      <a:pt x="485" y="246"/>
                      <a:pt x="221" y="537"/>
                    </a:cubicBezTo>
                    <a:cubicBezTo>
                      <a:pt x="221" y="537"/>
                      <a:pt x="221" y="537"/>
                      <a:pt x="0" y="335"/>
                    </a:cubicBezTo>
                    <a:cubicBezTo>
                      <a:pt x="0" y="335"/>
                      <a:pt x="0" y="335"/>
                      <a:pt x="269" y="44"/>
                    </a:cubicBezTo>
                    <a:cubicBezTo>
                      <a:pt x="269" y="44"/>
                      <a:pt x="269" y="44"/>
                      <a:pt x="409"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1"/>
    </p:custDataLst>
    <p:extLst>
      <p:ext uri="{BB962C8B-B14F-4D97-AF65-F5344CB8AC3E}">
        <p14:creationId xmlns:p14="http://schemas.microsoft.com/office/powerpoint/2010/main" val="319329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walkthrough</a:t>
            </a:r>
            <a:endParaRPr lang="en-US" dirty="0"/>
          </a:p>
        </p:txBody>
      </p:sp>
    </p:spTree>
    <p:custDataLst>
      <p:tags r:id="rId1"/>
    </p:custDataLst>
    <p:extLst>
      <p:ext uri="{BB962C8B-B14F-4D97-AF65-F5344CB8AC3E}">
        <p14:creationId xmlns:p14="http://schemas.microsoft.com/office/powerpoint/2010/main" val="2670651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73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22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D4DF33"/>
                </a:solidFill>
              </a:rPr>
              <a:t>Agenda</a:t>
            </a:r>
            <a:endParaRPr lang="en-US" dirty="0">
              <a:solidFill>
                <a:srgbClr val="D4DF33"/>
              </a:solidFill>
            </a:endParaRPr>
          </a:p>
        </p:txBody>
      </p:sp>
      <p:sp>
        <p:nvSpPr>
          <p:cNvPr id="5" name="ee4pContent2"/>
          <p:cNvSpPr txBox="1"/>
          <p:nvPr/>
        </p:nvSpPr>
        <p:spPr>
          <a:xfrm>
            <a:off x="4533030" y="1525958"/>
            <a:ext cx="7030169" cy="3790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dirty="0" smtClean="0">
                <a:solidFill>
                  <a:schemeClr val="tx1">
                    <a:lumMod val="100000"/>
                  </a:schemeClr>
                </a:solidFill>
              </a:rPr>
              <a:t>Discuss learning session curriculum and schedule</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Overview of the data science process and key requirements</a:t>
            </a:r>
          </a:p>
          <a:p>
            <a:pPr lvl="1">
              <a:buClr>
                <a:schemeClr val="tx2">
                  <a:lumMod val="100000"/>
                </a:schemeClr>
              </a:buClr>
              <a:buSzPct val="100000"/>
            </a:pPr>
            <a:endParaRPr lang="en-US" dirty="0">
              <a:solidFill>
                <a:schemeClr val="tx1">
                  <a:lumMod val="100000"/>
                </a:schemeClr>
              </a:solidFill>
            </a:endParaRPr>
          </a:p>
          <a:p>
            <a:pPr lvl="1">
              <a:buClr>
                <a:schemeClr val="tx2">
                  <a:lumMod val="100000"/>
                </a:schemeClr>
              </a:buClr>
              <a:buSzPct val="100000"/>
            </a:pPr>
            <a:r>
              <a:rPr lang="en-US" dirty="0" smtClean="0">
                <a:solidFill>
                  <a:schemeClr val="tx1">
                    <a:lumMod val="100000"/>
                  </a:schemeClr>
                </a:solidFill>
              </a:rPr>
              <a:t>Progress update on modeling work for frequency and menu challenge use cases</a:t>
            </a:r>
          </a:p>
        </p:txBody>
      </p:sp>
      <p:sp>
        <p:nvSpPr>
          <p:cNvPr id="17" name="Oval 20"/>
          <p:cNvSpPr>
            <a:spLocks noChangeAspect="1" noChangeArrowheads="1"/>
          </p:cNvSpPr>
          <p:nvPr/>
        </p:nvSpPr>
        <p:spPr bwMode="auto">
          <a:xfrm>
            <a:off x="4489872" y="4049902"/>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3</a:t>
            </a:r>
            <a:endParaRPr lang="en-US" sz="1200" b="1" dirty="0">
              <a:solidFill>
                <a:schemeClr val="bg1"/>
              </a:solidFill>
            </a:endParaRPr>
          </a:p>
        </p:txBody>
      </p:sp>
      <p:sp>
        <p:nvSpPr>
          <p:cNvPr id="18" name="Oval 20"/>
          <p:cNvSpPr>
            <a:spLocks noChangeAspect="1" noChangeArrowheads="1"/>
          </p:cNvSpPr>
          <p:nvPr/>
        </p:nvSpPr>
        <p:spPr bwMode="auto">
          <a:xfrm>
            <a:off x="4504749" y="312287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2</a:t>
            </a:r>
            <a:endParaRPr lang="en-US" sz="1200" b="1" dirty="0">
              <a:solidFill>
                <a:schemeClr val="bg1"/>
              </a:solidFill>
            </a:endParaRPr>
          </a:p>
        </p:txBody>
      </p:sp>
      <p:sp>
        <p:nvSpPr>
          <p:cNvPr id="19" name="Oval 20"/>
          <p:cNvSpPr>
            <a:spLocks noChangeAspect="1" noChangeArrowheads="1"/>
          </p:cNvSpPr>
          <p:nvPr/>
        </p:nvSpPr>
        <p:spPr bwMode="auto">
          <a:xfrm>
            <a:off x="4504749" y="2205267"/>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b="1" dirty="0" smtClean="0">
                <a:solidFill>
                  <a:schemeClr val="bg1"/>
                </a:solidFill>
              </a:rPr>
              <a:t>1</a:t>
            </a:r>
            <a:endParaRPr lang="en-US" sz="1200" b="1" dirty="0">
              <a:solidFill>
                <a:schemeClr val="bg1"/>
              </a:solidFill>
            </a:endParaRPr>
          </a:p>
        </p:txBody>
      </p:sp>
    </p:spTree>
    <p:extLst>
      <p:ext uri="{BB962C8B-B14F-4D97-AF65-F5344CB8AC3E}">
        <p14:creationId xmlns:p14="http://schemas.microsoft.com/office/powerpoint/2010/main" val="1695281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iculum and schedule</a:t>
            </a:r>
            <a:endParaRPr lang="en-US" dirty="0"/>
          </a:p>
        </p:txBody>
      </p:sp>
    </p:spTree>
    <p:custDataLst>
      <p:tags r:id="rId1"/>
    </p:custDataLst>
    <p:extLst>
      <p:ext uri="{BB962C8B-B14F-4D97-AF65-F5344CB8AC3E}">
        <p14:creationId xmlns:p14="http://schemas.microsoft.com/office/powerpoint/2010/main" val="2757578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e4pContent1"/>
          <p:cNvSpPr txBox="1"/>
          <p:nvPr/>
        </p:nvSpPr>
        <p:spPr>
          <a:xfrm>
            <a:off x="629400"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Collaborate and share our knowledge on modeling topics and best-in-class solutions</a:t>
            </a:r>
            <a:endParaRPr lang="en-US" dirty="0">
              <a:solidFill>
                <a:schemeClr val="tx1">
                  <a:lumMod val="100000"/>
                </a:schemeClr>
              </a:solidFill>
            </a:endParaRPr>
          </a:p>
        </p:txBody>
      </p:sp>
      <p:sp>
        <p:nvSpPr>
          <p:cNvPr id="26" name="ee4pContent2"/>
          <p:cNvSpPr txBox="1"/>
          <p:nvPr/>
        </p:nvSpPr>
        <p:spPr>
          <a:xfrm>
            <a:off x="3541581"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High level </a:t>
            </a:r>
            <a:r>
              <a:rPr lang="en-US" dirty="0">
                <a:solidFill>
                  <a:schemeClr val="tx1">
                    <a:lumMod val="100000"/>
                  </a:schemeClr>
                </a:solidFill>
              </a:rPr>
              <a:t>u</a:t>
            </a:r>
            <a:r>
              <a:rPr lang="en-US" dirty="0" smtClean="0">
                <a:solidFill>
                  <a:schemeClr val="tx1">
                    <a:lumMod val="100000"/>
                  </a:schemeClr>
                </a:solidFill>
              </a:rPr>
              <a:t>pdate the team on steps taken over the last two weeks and key technical developments</a:t>
            </a:r>
            <a:endParaRPr lang="en-US" dirty="0">
              <a:solidFill>
                <a:schemeClr val="tx1">
                  <a:lumMod val="100000"/>
                </a:schemeClr>
              </a:solidFill>
            </a:endParaRPr>
          </a:p>
        </p:txBody>
      </p:sp>
      <p:sp>
        <p:nvSpPr>
          <p:cNvPr id="25" name="ee4pContent3"/>
          <p:cNvSpPr txBox="1"/>
          <p:nvPr/>
        </p:nvSpPr>
        <p:spPr>
          <a:xfrm>
            <a:off x="6453162"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Discuss key challenges we have faced and steps taken to overcome those challenges</a:t>
            </a:r>
            <a:endParaRPr lang="en-US" dirty="0">
              <a:solidFill>
                <a:schemeClr val="tx1">
                  <a:lumMod val="100000"/>
                </a:schemeClr>
              </a:solidFill>
            </a:endParaRPr>
          </a:p>
        </p:txBody>
      </p:sp>
      <p:sp>
        <p:nvSpPr>
          <p:cNvPr id="35" name="ee4pContent4"/>
          <p:cNvSpPr txBox="1"/>
          <p:nvPr/>
        </p:nvSpPr>
        <p:spPr>
          <a:xfrm>
            <a:off x="9364742" y="3733014"/>
            <a:ext cx="2198458" cy="2134986"/>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dirty="0" smtClean="0">
                <a:solidFill>
                  <a:schemeClr val="tx1">
                    <a:lumMod val="100000"/>
                  </a:schemeClr>
                </a:solidFill>
              </a:rPr>
              <a:t>Code walk-through and process discussion of how the models are developed, refined, and deployed</a:t>
            </a:r>
            <a:endParaRPr lang="en-US" dirty="0">
              <a:solidFill>
                <a:schemeClr val="tx1">
                  <a:lumMod val="100000"/>
                </a:schemeClr>
              </a:solidFill>
            </a:endParaRPr>
          </a:p>
        </p:txBody>
      </p:sp>
      <p:sp>
        <p:nvSpPr>
          <p:cNvPr id="30" name="ee4pHeader1"/>
          <p:cNvSpPr txBox="1"/>
          <p:nvPr/>
        </p:nvSpPr>
        <p:spPr>
          <a:xfrm>
            <a:off x="629400"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Share our expertise</a:t>
            </a:r>
            <a:endParaRPr lang="en-US" sz="2400" dirty="0">
              <a:solidFill>
                <a:schemeClr val="tx2"/>
              </a:solidFill>
            </a:endParaRPr>
          </a:p>
        </p:txBody>
      </p:sp>
      <p:sp>
        <p:nvSpPr>
          <p:cNvPr id="29" name="ee4pHeader2"/>
          <p:cNvSpPr txBox="1"/>
          <p:nvPr/>
        </p:nvSpPr>
        <p:spPr>
          <a:xfrm>
            <a:off x="3541581"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Provide a progress update</a:t>
            </a:r>
            <a:endParaRPr lang="en-US" sz="2400" dirty="0">
              <a:solidFill>
                <a:schemeClr val="tx2"/>
              </a:solidFill>
            </a:endParaRPr>
          </a:p>
        </p:txBody>
      </p:sp>
      <p:sp>
        <p:nvSpPr>
          <p:cNvPr id="28" name="ee4pHeader3"/>
          <p:cNvSpPr txBox="1"/>
          <p:nvPr/>
        </p:nvSpPr>
        <p:spPr>
          <a:xfrm>
            <a:off x="6453162"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Identify key challenges</a:t>
            </a:r>
            <a:endParaRPr lang="en-US" sz="2400" dirty="0">
              <a:solidFill>
                <a:schemeClr val="tx2"/>
              </a:solidFill>
            </a:endParaRPr>
          </a:p>
        </p:txBody>
      </p:sp>
      <p:sp>
        <p:nvSpPr>
          <p:cNvPr id="36" name="ee4pHeader4"/>
          <p:cNvSpPr txBox="1"/>
          <p:nvPr/>
        </p:nvSpPr>
        <p:spPr>
          <a:xfrm>
            <a:off x="9364742" y="2839836"/>
            <a:ext cx="2198458" cy="759600"/>
          </a:xfrm>
          <a:prstGeom prst="rect">
            <a:avLst/>
          </a:prstGeom>
          <a:noFill/>
          <a:ln cap="rnd">
            <a:noFill/>
          </a:ln>
        </p:spPr>
        <p:txBody>
          <a:bodyPr wrap="square" lIns="0" tIns="0" rIns="0" bIns="0" rtlCol="0" anchor="b" anchorCtr="0">
            <a:noAutofit/>
          </a:bodyPr>
          <a:lstStyle/>
          <a:p>
            <a:pPr marL="0" lvl="3"/>
            <a:r>
              <a:rPr lang="en-US" sz="2400" dirty="0" smtClean="0">
                <a:solidFill>
                  <a:schemeClr val="tx2"/>
                </a:solidFill>
              </a:rPr>
              <a:t>Technical deep dive/roadmaps</a:t>
            </a:r>
            <a:endParaRPr lang="en-US" sz="2400" dirty="0">
              <a:solidFill>
                <a:schemeClr val="tx2"/>
              </a:solidFill>
            </a:endParaRPr>
          </a:p>
        </p:txBody>
      </p:sp>
      <p:sp>
        <p:nvSpPr>
          <p:cNvPr id="2" name="Title 1"/>
          <p:cNvSpPr>
            <a:spLocks noGrp="1"/>
          </p:cNvSpPr>
          <p:nvPr>
            <p:ph type="title"/>
          </p:nvPr>
        </p:nvSpPr>
        <p:spPr/>
        <p:txBody>
          <a:bodyPr/>
          <a:lstStyle/>
          <a:p>
            <a:r>
              <a:rPr lang="en-US" dirty="0" smtClean="0"/>
              <a:t>Our objectives for the bi-weekly learning session</a:t>
            </a:r>
            <a:endParaRPr lang="en-US" dirty="0"/>
          </a:p>
        </p:txBody>
      </p:sp>
      <p:sp>
        <p:nvSpPr>
          <p:cNvPr id="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12" name="NavigationIcon"/>
          <p:cNvGrpSpPr>
            <a:grpSpLocks noChangeAspect="1"/>
          </p:cNvGrpSpPr>
          <p:nvPr/>
        </p:nvGrpSpPr>
        <p:grpSpPr>
          <a:xfrm>
            <a:off x="11666125" y="132877"/>
            <a:ext cx="414598" cy="365760"/>
            <a:chOff x="5555742" y="2894076"/>
            <a:chExt cx="1216152" cy="1072896"/>
          </a:xfrm>
        </p:grpSpPr>
        <p:sp>
          <p:nvSpPr>
            <p:cNvPr id="13" name="Freeform 25">
              <a:extLst>
                <a:ext uri="{FF2B5EF4-FFF2-40B4-BE49-F238E27FC236}">
                  <a16:creationId xmlns:a16="http://schemas.microsoft.com/office/drawing/2014/main" xmlns="" id="{FA0FD38E-7CA9-4ECE-9013-798D4E40C551}"/>
                </a:ext>
              </a:extLst>
            </p:cNvPr>
            <p:cNvSpPr>
              <a:spLocks noEditPoints="1"/>
            </p:cNvSpPr>
            <p:nvPr/>
          </p:nvSpPr>
          <p:spPr bwMode="auto">
            <a:xfrm>
              <a:off x="6073902" y="2925318"/>
              <a:ext cx="697992" cy="52082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14" name="Freeform 26">
              <a:extLst>
                <a:ext uri="{FF2B5EF4-FFF2-40B4-BE49-F238E27FC236}">
                  <a16:creationId xmlns:a16="http://schemas.microsoft.com/office/drawing/2014/main" xmlns="" id="{F562C458-32E3-43E7-BAF7-B4773D3C4A71}"/>
                </a:ext>
              </a:extLst>
            </p:cNvPr>
            <p:cNvSpPr>
              <a:spLocks noEditPoints="1"/>
            </p:cNvSpPr>
            <p:nvPr/>
          </p:nvSpPr>
          <p:spPr bwMode="auto">
            <a:xfrm>
              <a:off x="5555742" y="2894076"/>
              <a:ext cx="1072134" cy="107289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grpSp>
        <p:nvGrpSpPr>
          <p:cNvPr id="15" name="bcgIcons_DigitalImperative">
            <a:extLst>
              <a:ext uri="{FF2B5EF4-FFF2-40B4-BE49-F238E27FC236}">
                <a16:creationId xmlns="" xmlns:a16="http://schemas.microsoft.com/office/drawing/2014/main" id="{38FCB088-1D96-4455-A463-B6D0CB5B7386}"/>
              </a:ext>
            </a:extLst>
          </p:cNvPr>
          <p:cNvGrpSpPr>
            <a:grpSpLocks noChangeAspect="1"/>
          </p:cNvGrpSpPr>
          <p:nvPr/>
        </p:nvGrpSpPr>
        <p:grpSpPr bwMode="auto">
          <a:xfrm>
            <a:off x="629400" y="1716497"/>
            <a:ext cx="1072235" cy="1073229"/>
            <a:chOff x="1682" y="0"/>
            <a:chExt cx="4316" cy="4320"/>
          </a:xfrm>
        </p:grpSpPr>
        <p:sp>
          <p:nvSpPr>
            <p:cNvPr id="16" name="AutoShape 29">
              <a:extLst>
                <a:ext uri="{FF2B5EF4-FFF2-40B4-BE49-F238E27FC236}">
                  <a16:creationId xmlns="" xmlns:a16="http://schemas.microsoft.com/office/drawing/2014/main" id="{0A20574C-861B-41A6-B088-1F60E1E082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31">
              <a:extLst>
                <a:ext uri="{FF2B5EF4-FFF2-40B4-BE49-F238E27FC236}">
                  <a16:creationId xmlns="" xmlns:a16="http://schemas.microsoft.com/office/drawing/2014/main" id="{B27ACF0B-87D8-43EB-9E05-3B16812D926B}"/>
                </a:ext>
              </a:extLst>
            </p:cNvPr>
            <p:cNvSpPr>
              <a:spLocks noEditPoints="1"/>
            </p:cNvSpPr>
            <p:nvPr/>
          </p:nvSpPr>
          <p:spPr bwMode="auto">
            <a:xfrm>
              <a:off x="1903" y="881"/>
              <a:ext cx="3921" cy="3060"/>
            </a:xfrm>
            <a:custGeom>
              <a:avLst/>
              <a:gdLst>
                <a:gd name="T0" fmla="*/ 244 w 2093"/>
                <a:gd name="T1" fmla="*/ 1602 h 1632"/>
                <a:gd name="T2" fmla="*/ 421 w 2093"/>
                <a:gd name="T3" fmla="*/ 1276 h 1632"/>
                <a:gd name="T4" fmla="*/ 649 w 2093"/>
                <a:gd name="T5" fmla="*/ 706 h 1632"/>
                <a:gd name="T6" fmla="*/ 880 w 2093"/>
                <a:gd name="T7" fmla="*/ 450 h 1632"/>
                <a:gd name="T8" fmla="*/ 1027 w 2093"/>
                <a:gd name="T9" fmla="*/ 62 h 1632"/>
                <a:gd name="T10" fmla="*/ 1379 w 2093"/>
                <a:gd name="T11" fmla="*/ 761 h 1632"/>
                <a:gd name="T12" fmla="*/ 1748 w 2093"/>
                <a:gd name="T13" fmla="*/ 1212 h 1632"/>
                <a:gd name="T14" fmla="*/ 1807 w 2093"/>
                <a:gd name="T15" fmla="*/ 1630 h 1632"/>
                <a:gd name="T16" fmla="*/ 1564 w 2093"/>
                <a:gd name="T17" fmla="*/ 1165 h 1632"/>
                <a:gd name="T18" fmla="*/ 1261 w 2093"/>
                <a:gd name="T19" fmla="*/ 781 h 1632"/>
                <a:gd name="T20" fmla="*/ 915 w 2093"/>
                <a:gd name="T21" fmla="*/ 485 h 1632"/>
                <a:gd name="T22" fmla="*/ 688 w 2093"/>
                <a:gd name="T23" fmla="*/ 726 h 1632"/>
                <a:gd name="T24" fmla="*/ 459 w 2093"/>
                <a:gd name="T25" fmla="*/ 1303 h 1632"/>
                <a:gd name="T26" fmla="*/ 286 w 2093"/>
                <a:gd name="T27" fmla="*/ 1614 h 1632"/>
                <a:gd name="T28" fmla="*/ 523 w 2093"/>
                <a:gd name="T29" fmla="*/ 0 h 1632"/>
                <a:gd name="T30" fmla="*/ 545 w 2093"/>
                <a:gd name="T31" fmla="*/ 276 h 1632"/>
                <a:gd name="T32" fmla="*/ 508 w 2093"/>
                <a:gd name="T33" fmla="*/ 301 h 1632"/>
                <a:gd name="T34" fmla="*/ 427 w 2093"/>
                <a:gd name="T35" fmla="*/ 96 h 1632"/>
                <a:gd name="T36" fmla="*/ 576 w 2093"/>
                <a:gd name="T37" fmla="*/ 96 h 1632"/>
                <a:gd name="T38" fmla="*/ 178 w 2093"/>
                <a:gd name="T39" fmla="*/ 899 h 1632"/>
                <a:gd name="T40" fmla="*/ 0 w 2093"/>
                <a:gd name="T41" fmla="*/ 951 h 1632"/>
                <a:gd name="T42" fmla="*/ 236 w 2093"/>
                <a:gd name="T43" fmla="*/ 778 h 1632"/>
                <a:gd name="T44" fmla="*/ 107 w 2093"/>
                <a:gd name="T45" fmla="*/ 349 h 1632"/>
                <a:gd name="T46" fmla="*/ 225 w 2093"/>
                <a:gd name="T47" fmla="*/ 255 h 1632"/>
                <a:gd name="T48" fmla="*/ 358 w 2093"/>
                <a:gd name="T49" fmla="*/ 838 h 1632"/>
                <a:gd name="T50" fmla="*/ 380 w 2093"/>
                <a:gd name="T51" fmla="*/ 494 h 1632"/>
                <a:gd name="T52" fmla="*/ 402 w 2093"/>
                <a:gd name="T53" fmla="*/ 1022 h 1632"/>
                <a:gd name="T54" fmla="*/ 365 w 2093"/>
                <a:gd name="T55" fmla="*/ 1047 h 1632"/>
                <a:gd name="T56" fmla="*/ 267 w 2093"/>
                <a:gd name="T57" fmla="*/ 809 h 1632"/>
                <a:gd name="T58" fmla="*/ 433 w 2093"/>
                <a:gd name="T59" fmla="*/ 590 h 1632"/>
                <a:gd name="T60" fmla="*/ 380 w 2093"/>
                <a:gd name="T61" fmla="*/ 643 h 1632"/>
                <a:gd name="T62" fmla="*/ 129 w 2093"/>
                <a:gd name="T63" fmla="*/ 202 h 1632"/>
                <a:gd name="T64" fmla="*/ 149 w 2093"/>
                <a:gd name="T65" fmla="*/ 951 h 1632"/>
                <a:gd name="T66" fmla="*/ 97 w 2093"/>
                <a:gd name="T67" fmla="*/ 1004 h 1632"/>
                <a:gd name="T68" fmla="*/ 1997 w 2093"/>
                <a:gd name="T69" fmla="*/ 666 h 1632"/>
                <a:gd name="T70" fmla="*/ 1700 w 2093"/>
                <a:gd name="T71" fmla="*/ 701 h 1632"/>
                <a:gd name="T72" fmla="*/ 1656 w 2093"/>
                <a:gd name="T73" fmla="*/ 847 h 1632"/>
                <a:gd name="T74" fmla="*/ 1500 w 2093"/>
                <a:gd name="T75" fmla="*/ 462 h 1632"/>
                <a:gd name="T76" fmla="*/ 1255 w 2093"/>
                <a:gd name="T77" fmla="*/ 440 h 1632"/>
                <a:gd name="T78" fmla="*/ 1500 w 2093"/>
                <a:gd name="T79" fmla="*/ 418 h 1632"/>
                <a:gd name="T80" fmla="*/ 1522 w 2093"/>
                <a:gd name="T81" fmla="*/ 102 h 1632"/>
                <a:gd name="T82" fmla="*/ 1544 w 2093"/>
                <a:gd name="T83" fmla="*/ 673 h 1632"/>
                <a:gd name="T84" fmla="*/ 1662 w 2093"/>
                <a:gd name="T85" fmla="*/ 676 h 1632"/>
                <a:gd name="T86" fmla="*/ 1903 w 2093"/>
                <a:gd name="T87" fmla="*/ 548 h 1632"/>
                <a:gd name="T88" fmla="*/ 1404 w 2093"/>
                <a:gd name="T89" fmla="*/ 440 h 1632"/>
                <a:gd name="T90" fmla="*/ 1352 w 2093"/>
                <a:gd name="T91" fmla="*/ 492 h 1632"/>
                <a:gd name="T92" fmla="*/ 1575 w 2093"/>
                <a:gd name="T93" fmla="*/ 198 h 1632"/>
                <a:gd name="T94" fmla="*/ 1522 w 2093"/>
                <a:gd name="T95" fmla="*/ 251 h 1632"/>
                <a:gd name="T96" fmla="*/ 1945 w 2093"/>
                <a:gd name="T97" fmla="*/ 57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3" h="1632">
                  <a:moveTo>
                    <a:pt x="265" y="1630"/>
                  </a:moveTo>
                  <a:cubicBezTo>
                    <a:pt x="263" y="1630"/>
                    <a:pt x="260" y="1630"/>
                    <a:pt x="258" y="1629"/>
                  </a:cubicBezTo>
                  <a:cubicBezTo>
                    <a:pt x="247" y="1626"/>
                    <a:pt x="240" y="1613"/>
                    <a:pt x="244" y="1602"/>
                  </a:cubicBezTo>
                  <a:cubicBezTo>
                    <a:pt x="337" y="1291"/>
                    <a:pt x="337" y="1291"/>
                    <a:pt x="337" y="1291"/>
                  </a:cubicBezTo>
                  <a:cubicBezTo>
                    <a:pt x="340" y="1282"/>
                    <a:pt x="348" y="1276"/>
                    <a:pt x="358" y="1276"/>
                  </a:cubicBezTo>
                  <a:cubicBezTo>
                    <a:pt x="421" y="1276"/>
                    <a:pt x="421" y="1276"/>
                    <a:pt x="421" y="1276"/>
                  </a:cubicBezTo>
                  <a:cubicBezTo>
                    <a:pt x="509" y="941"/>
                    <a:pt x="509" y="941"/>
                    <a:pt x="509" y="941"/>
                  </a:cubicBezTo>
                  <a:cubicBezTo>
                    <a:pt x="509" y="939"/>
                    <a:pt x="510" y="937"/>
                    <a:pt x="511" y="935"/>
                  </a:cubicBezTo>
                  <a:cubicBezTo>
                    <a:pt x="649" y="706"/>
                    <a:pt x="649" y="706"/>
                    <a:pt x="649" y="706"/>
                  </a:cubicBezTo>
                  <a:cubicBezTo>
                    <a:pt x="778" y="437"/>
                    <a:pt x="778" y="437"/>
                    <a:pt x="778" y="437"/>
                  </a:cubicBezTo>
                  <a:cubicBezTo>
                    <a:pt x="783" y="427"/>
                    <a:pt x="794" y="423"/>
                    <a:pt x="805" y="426"/>
                  </a:cubicBezTo>
                  <a:cubicBezTo>
                    <a:pt x="880" y="450"/>
                    <a:pt x="880" y="450"/>
                    <a:pt x="880" y="450"/>
                  </a:cubicBezTo>
                  <a:cubicBezTo>
                    <a:pt x="1006" y="77"/>
                    <a:pt x="1006" y="77"/>
                    <a:pt x="1006" y="77"/>
                  </a:cubicBezTo>
                  <a:cubicBezTo>
                    <a:pt x="1009" y="68"/>
                    <a:pt x="1017" y="62"/>
                    <a:pt x="1026" y="62"/>
                  </a:cubicBezTo>
                  <a:cubicBezTo>
                    <a:pt x="1027" y="62"/>
                    <a:pt x="1027" y="62"/>
                    <a:pt x="1027" y="62"/>
                  </a:cubicBezTo>
                  <a:cubicBezTo>
                    <a:pt x="1036" y="62"/>
                    <a:pt x="1044" y="68"/>
                    <a:pt x="1047" y="76"/>
                  </a:cubicBezTo>
                  <a:cubicBezTo>
                    <a:pt x="1283" y="740"/>
                    <a:pt x="1283" y="740"/>
                    <a:pt x="1283" y="740"/>
                  </a:cubicBezTo>
                  <a:cubicBezTo>
                    <a:pt x="1379" y="761"/>
                    <a:pt x="1379" y="761"/>
                    <a:pt x="1379" y="761"/>
                  </a:cubicBezTo>
                  <a:cubicBezTo>
                    <a:pt x="1385" y="762"/>
                    <a:pt x="1391" y="766"/>
                    <a:pt x="1394" y="772"/>
                  </a:cubicBezTo>
                  <a:cubicBezTo>
                    <a:pt x="1590" y="1129"/>
                    <a:pt x="1590" y="1129"/>
                    <a:pt x="1590" y="1129"/>
                  </a:cubicBezTo>
                  <a:cubicBezTo>
                    <a:pt x="1748" y="1212"/>
                    <a:pt x="1748" y="1212"/>
                    <a:pt x="1748" y="1212"/>
                  </a:cubicBezTo>
                  <a:cubicBezTo>
                    <a:pt x="1754" y="1215"/>
                    <a:pt x="1759" y="1221"/>
                    <a:pt x="1760" y="1228"/>
                  </a:cubicBezTo>
                  <a:cubicBezTo>
                    <a:pt x="1825" y="1604"/>
                    <a:pt x="1825" y="1604"/>
                    <a:pt x="1825" y="1604"/>
                  </a:cubicBezTo>
                  <a:cubicBezTo>
                    <a:pt x="1827" y="1616"/>
                    <a:pt x="1819" y="1628"/>
                    <a:pt x="1807" y="1630"/>
                  </a:cubicBezTo>
                  <a:cubicBezTo>
                    <a:pt x="1795" y="1632"/>
                    <a:pt x="1784" y="1624"/>
                    <a:pt x="1782" y="1612"/>
                  </a:cubicBezTo>
                  <a:cubicBezTo>
                    <a:pt x="1718" y="1246"/>
                    <a:pt x="1718" y="1246"/>
                    <a:pt x="1718" y="1246"/>
                  </a:cubicBezTo>
                  <a:cubicBezTo>
                    <a:pt x="1564" y="1165"/>
                    <a:pt x="1564" y="1165"/>
                    <a:pt x="1564" y="1165"/>
                  </a:cubicBezTo>
                  <a:cubicBezTo>
                    <a:pt x="1560" y="1163"/>
                    <a:pt x="1557" y="1160"/>
                    <a:pt x="1555" y="1156"/>
                  </a:cubicBezTo>
                  <a:cubicBezTo>
                    <a:pt x="1360" y="802"/>
                    <a:pt x="1360" y="802"/>
                    <a:pt x="1360" y="802"/>
                  </a:cubicBezTo>
                  <a:cubicBezTo>
                    <a:pt x="1261" y="781"/>
                    <a:pt x="1261" y="781"/>
                    <a:pt x="1261" y="781"/>
                  </a:cubicBezTo>
                  <a:cubicBezTo>
                    <a:pt x="1254" y="779"/>
                    <a:pt x="1248" y="774"/>
                    <a:pt x="1245" y="766"/>
                  </a:cubicBezTo>
                  <a:cubicBezTo>
                    <a:pt x="1027" y="151"/>
                    <a:pt x="1027" y="151"/>
                    <a:pt x="1027" y="151"/>
                  </a:cubicBezTo>
                  <a:cubicBezTo>
                    <a:pt x="915" y="485"/>
                    <a:pt x="915" y="485"/>
                    <a:pt x="915" y="485"/>
                  </a:cubicBezTo>
                  <a:cubicBezTo>
                    <a:pt x="911" y="496"/>
                    <a:pt x="899" y="502"/>
                    <a:pt x="887" y="498"/>
                  </a:cubicBezTo>
                  <a:cubicBezTo>
                    <a:pt x="810" y="474"/>
                    <a:pt x="810" y="474"/>
                    <a:pt x="810" y="474"/>
                  </a:cubicBezTo>
                  <a:cubicBezTo>
                    <a:pt x="688" y="726"/>
                    <a:pt x="688" y="726"/>
                    <a:pt x="688" y="726"/>
                  </a:cubicBezTo>
                  <a:cubicBezTo>
                    <a:pt x="688" y="726"/>
                    <a:pt x="687" y="727"/>
                    <a:pt x="687" y="727"/>
                  </a:cubicBezTo>
                  <a:cubicBezTo>
                    <a:pt x="550" y="955"/>
                    <a:pt x="550" y="955"/>
                    <a:pt x="550" y="955"/>
                  </a:cubicBezTo>
                  <a:cubicBezTo>
                    <a:pt x="459" y="1303"/>
                    <a:pt x="459" y="1303"/>
                    <a:pt x="459" y="1303"/>
                  </a:cubicBezTo>
                  <a:cubicBezTo>
                    <a:pt x="457" y="1313"/>
                    <a:pt x="448" y="1320"/>
                    <a:pt x="438" y="1320"/>
                  </a:cubicBezTo>
                  <a:cubicBezTo>
                    <a:pt x="374" y="1320"/>
                    <a:pt x="374" y="1320"/>
                    <a:pt x="374" y="1320"/>
                  </a:cubicBezTo>
                  <a:cubicBezTo>
                    <a:pt x="286" y="1614"/>
                    <a:pt x="286" y="1614"/>
                    <a:pt x="286" y="1614"/>
                  </a:cubicBezTo>
                  <a:cubicBezTo>
                    <a:pt x="283" y="1624"/>
                    <a:pt x="274" y="1630"/>
                    <a:pt x="265" y="1630"/>
                  </a:cubicBezTo>
                  <a:close/>
                  <a:moveTo>
                    <a:pt x="427" y="96"/>
                  </a:moveTo>
                  <a:cubicBezTo>
                    <a:pt x="427" y="43"/>
                    <a:pt x="470" y="0"/>
                    <a:pt x="523" y="0"/>
                  </a:cubicBezTo>
                  <a:cubicBezTo>
                    <a:pt x="577" y="0"/>
                    <a:pt x="620" y="43"/>
                    <a:pt x="620" y="96"/>
                  </a:cubicBezTo>
                  <a:cubicBezTo>
                    <a:pt x="620" y="142"/>
                    <a:pt x="588" y="180"/>
                    <a:pt x="545" y="190"/>
                  </a:cubicBezTo>
                  <a:cubicBezTo>
                    <a:pt x="545" y="276"/>
                    <a:pt x="545" y="276"/>
                    <a:pt x="545" y="276"/>
                  </a:cubicBezTo>
                  <a:cubicBezTo>
                    <a:pt x="722" y="452"/>
                    <a:pt x="722" y="452"/>
                    <a:pt x="722" y="452"/>
                  </a:cubicBezTo>
                  <a:cubicBezTo>
                    <a:pt x="702" y="494"/>
                    <a:pt x="702" y="494"/>
                    <a:pt x="702" y="494"/>
                  </a:cubicBezTo>
                  <a:cubicBezTo>
                    <a:pt x="508" y="301"/>
                    <a:pt x="508" y="301"/>
                    <a:pt x="508" y="301"/>
                  </a:cubicBezTo>
                  <a:cubicBezTo>
                    <a:pt x="504" y="296"/>
                    <a:pt x="501" y="291"/>
                    <a:pt x="501" y="285"/>
                  </a:cubicBezTo>
                  <a:cubicBezTo>
                    <a:pt x="501" y="190"/>
                    <a:pt x="501" y="190"/>
                    <a:pt x="501" y="190"/>
                  </a:cubicBezTo>
                  <a:cubicBezTo>
                    <a:pt x="459" y="180"/>
                    <a:pt x="427" y="142"/>
                    <a:pt x="427" y="96"/>
                  </a:cubicBezTo>
                  <a:close/>
                  <a:moveTo>
                    <a:pt x="471" y="96"/>
                  </a:moveTo>
                  <a:cubicBezTo>
                    <a:pt x="471" y="125"/>
                    <a:pt x="495" y="149"/>
                    <a:pt x="523" y="149"/>
                  </a:cubicBezTo>
                  <a:cubicBezTo>
                    <a:pt x="552" y="149"/>
                    <a:pt x="576" y="125"/>
                    <a:pt x="576" y="96"/>
                  </a:cubicBezTo>
                  <a:cubicBezTo>
                    <a:pt x="576" y="67"/>
                    <a:pt x="552" y="44"/>
                    <a:pt x="523" y="44"/>
                  </a:cubicBezTo>
                  <a:cubicBezTo>
                    <a:pt x="495" y="44"/>
                    <a:pt x="471" y="67"/>
                    <a:pt x="471" y="96"/>
                  </a:cubicBezTo>
                  <a:close/>
                  <a:moveTo>
                    <a:pt x="178" y="899"/>
                  </a:moveTo>
                  <a:cubicBezTo>
                    <a:pt x="188" y="914"/>
                    <a:pt x="193" y="932"/>
                    <a:pt x="193" y="951"/>
                  </a:cubicBezTo>
                  <a:cubicBezTo>
                    <a:pt x="193" y="1004"/>
                    <a:pt x="150" y="1048"/>
                    <a:pt x="97" y="1048"/>
                  </a:cubicBezTo>
                  <a:cubicBezTo>
                    <a:pt x="44" y="1048"/>
                    <a:pt x="0" y="1004"/>
                    <a:pt x="0" y="951"/>
                  </a:cubicBezTo>
                  <a:cubicBezTo>
                    <a:pt x="0" y="898"/>
                    <a:pt x="44" y="855"/>
                    <a:pt x="97" y="855"/>
                  </a:cubicBezTo>
                  <a:cubicBezTo>
                    <a:pt x="115" y="855"/>
                    <a:pt x="132" y="860"/>
                    <a:pt x="146" y="868"/>
                  </a:cubicBezTo>
                  <a:cubicBezTo>
                    <a:pt x="236" y="778"/>
                    <a:pt x="236" y="778"/>
                    <a:pt x="236" y="778"/>
                  </a:cubicBezTo>
                  <a:cubicBezTo>
                    <a:pt x="113" y="655"/>
                    <a:pt x="113" y="655"/>
                    <a:pt x="113" y="655"/>
                  </a:cubicBezTo>
                  <a:cubicBezTo>
                    <a:pt x="109" y="651"/>
                    <a:pt x="107" y="645"/>
                    <a:pt x="107" y="640"/>
                  </a:cubicBezTo>
                  <a:cubicBezTo>
                    <a:pt x="107" y="349"/>
                    <a:pt x="107" y="349"/>
                    <a:pt x="107" y="349"/>
                  </a:cubicBezTo>
                  <a:cubicBezTo>
                    <a:pt x="64" y="339"/>
                    <a:pt x="32" y="301"/>
                    <a:pt x="32" y="255"/>
                  </a:cubicBezTo>
                  <a:cubicBezTo>
                    <a:pt x="32" y="202"/>
                    <a:pt x="76" y="158"/>
                    <a:pt x="129" y="158"/>
                  </a:cubicBezTo>
                  <a:cubicBezTo>
                    <a:pt x="182" y="158"/>
                    <a:pt x="225" y="202"/>
                    <a:pt x="225" y="255"/>
                  </a:cubicBezTo>
                  <a:cubicBezTo>
                    <a:pt x="225" y="301"/>
                    <a:pt x="194" y="339"/>
                    <a:pt x="151" y="349"/>
                  </a:cubicBezTo>
                  <a:cubicBezTo>
                    <a:pt x="151" y="630"/>
                    <a:pt x="151" y="630"/>
                    <a:pt x="151" y="630"/>
                  </a:cubicBezTo>
                  <a:cubicBezTo>
                    <a:pt x="358" y="838"/>
                    <a:pt x="358" y="838"/>
                    <a:pt x="358" y="838"/>
                  </a:cubicBezTo>
                  <a:cubicBezTo>
                    <a:pt x="358" y="684"/>
                    <a:pt x="358" y="684"/>
                    <a:pt x="358" y="684"/>
                  </a:cubicBezTo>
                  <a:cubicBezTo>
                    <a:pt x="315" y="674"/>
                    <a:pt x="284" y="636"/>
                    <a:pt x="284" y="590"/>
                  </a:cubicBezTo>
                  <a:cubicBezTo>
                    <a:pt x="284" y="537"/>
                    <a:pt x="327" y="494"/>
                    <a:pt x="380" y="494"/>
                  </a:cubicBezTo>
                  <a:cubicBezTo>
                    <a:pt x="433" y="494"/>
                    <a:pt x="477" y="537"/>
                    <a:pt x="477" y="590"/>
                  </a:cubicBezTo>
                  <a:cubicBezTo>
                    <a:pt x="477" y="636"/>
                    <a:pt x="445" y="674"/>
                    <a:pt x="402" y="684"/>
                  </a:cubicBezTo>
                  <a:cubicBezTo>
                    <a:pt x="402" y="1022"/>
                    <a:pt x="402" y="1022"/>
                    <a:pt x="402" y="1022"/>
                  </a:cubicBezTo>
                  <a:cubicBezTo>
                    <a:pt x="434" y="1054"/>
                    <a:pt x="434" y="1054"/>
                    <a:pt x="434" y="1054"/>
                  </a:cubicBezTo>
                  <a:cubicBezTo>
                    <a:pt x="421" y="1103"/>
                    <a:pt x="421" y="1103"/>
                    <a:pt x="421" y="1103"/>
                  </a:cubicBezTo>
                  <a:cubicBezTo>
                    <a:pt x="365" y="1047"/>
                    <a:pt x="365" y="1047"/>
                    <a:pt x="365" y="1047"/>
                  </a:cubicBezTo>
                  <a:cubicBezTo>
                    <a:pt x="360" y="1043"/>
                    <a:pt x="358" y="1037"/>
                    <a:pt x="358" y="1031"/>
                  </a:cubicBezTo>
                  <a:cubicBezTo>
                    <a:pt x="358" y="900"/>
                    <a:pt x="358" y="900"/>
                    <a:pt x="358" y="900"/>
                  </a:cubicBezTo>
                  <a:cubicBezTo>
                    <a:pt x="267" y="809"/>
                    <a:pt x="267" y="809"/>
                    <a:pt x="267" y="809"/>
                  </a:cubicBezTo>
                  <a:lnTo>
                    <a:pt x="178" y="899"/>
                  </a:lnTo>
                  <a:close/>
                  <a:moveTo>
                    <a:pt x="380" y="643"/>
                  </a:moveTo>
                  <a:cubicBezTo>
                    <a:pt x="409" y="643"/>
                    <a:pt x="433" y="619"/>
                    <a:pt x="433" y="590"/>
                  </a:cubicBezTo>
                  <a:cubicBezTo>
                    <a:pt x="433" y="561"/>
                    <a:pt x="409" y="538"/>
                    <a:pt x="380" y="538"/>
                  </a:cubicBezTo>
                  <a:cubicBezTo>
                    <a:pt x="351" y="538"/>
                    <a:pt x="328" y="561"/>
                    <a:pt x="328" y="590"/>
                  </a:cubicBezTo>
                  <a:cubicBezTo>
                    <a:pt x="328" y="619"/>
                    <a:pt x="351" y="643"/>
                    <a:pt x="380" y="643"/>
                  </a:cubicBezTo>
                  <a:close/>
                  <a:moveTo>
                    <a:pt x="129" y="307"/>
                  </a:moveTo>
                  <a:cubicBezTo>
                    <a:pt x="158" y="307"/>
                    <a:pt x="181" y="284"/>
                    <a:pt x="181" y="255"/>
                  </a:cubicBezTo>
                  <a:cubicBezTo>
                    <a:pt x="181" y="226"/>
                    <a:pt x="158" y="202"/>
                    <a:pt x="129" y="202"/>
                  </a:cubicBezTo>
                  <a:cubicBezTo>
                    <a:pt x="100" y="202"/>
                    <a:pt x="76" y="226"/>
                    <a:pt x="76" y="255"/>
                  </a:cubicBezTo>
                  <a:cubicBezTo>
                    <a:pt x="76" y="284"/>
                    <a:pt x="100" y="307"/>
                    <a:pt x="129" y="307"/>
                  </a:cubicBezTo>
                  <a:close/>
                  <a:moveTo>
                    <a:pt x="149" y="951"/>
                  </a:moveTo>
                  <a:cubicBezTo>
                    <a:pt x="149" y="922"/>
                    <a:pt x="126" y="899"/>
                    <a:pt x="97" y="899"/>
                  </a:cubicBezTo>
                  <a:cubicBezTo>
                    <a:pt x="68" y="899"/>
                    <a:pt x="44" y="922"/>
                    <a:pt x="44" y="951"/>
                  </a:cubicBezTo>
                  <a:cubicBezTo>
                    <a:pt x="44" y="980"/>
                    <a:pt x="68" y="1004"/>
                    <a:pt x="97" y="1004"/>
                  </a:cubicBezTo>
                  <a:cubicBezTo>
                    <a:pt x="126" y="1004"/>
                    <a:pt x="149" y="980"/>
                    <a:pt x="149" y="951"/>
                  </a:cubicBezTo>
                  <a:close/>
                  <a:moveTo>
                    <a:pt x="2093" y="570"/>
                  </a:moveTo>
                  <a:cubicBezTo>
                    <a:pt x="2093" y="623"/>
                    <a:pt x="2050" y="666"/>
                    <a:pt x="1997" y="666"/>
                  </a:cubicBezTo>
                  <a:cubicBezTo>
                    <a:pt x="1951" y="666"/>
                    <a:pt x="1913" y="635"/>
                    <a:pt x="1903" y="592"/>
                  </a:cubicBezTo>
                  <a:cubicBezTo>
                    <a:pt x="1809" y="592"/>
                    <a:pt x="1809" y="592"/>
                    <a:pt x="1809" y="592"/>
                  </a:cubicBezTo>
                  <a:cubicBezTo>
                    <a:pt x="1700" y="701"/>
                    <a:pt x="1700" y="701"/>
                    <a:pt x="1700" y="701"/>
                  </a:cubicBezTo>
                  <a:cubicBezTo>
                    <a:pt x="1700" y="1137"/>
                    <a:pt x="1700" y="1137"/>
                    <a:pt x="1700" y="1137"/>
                  </a:cubicBezTo>
                  <a:cubicBezTo>
                    <a:pt x="1656" y="1114"/>
                    <a:pt x="1656" y="1114"/>
                    <a:pt x="1656" y="1114"/>
                  </a:cubicBezTo>
                  <a:cubicBezTo>
                    <a:pt x="1656" y="847"/>
                    <a:pt x="1656" y="847"/>
                    <a:pt x="1656" y="847"/>
                  </a:cubicBezTo>
                  <a:cubicBezTo>
                    <a:pt x="1507" y="698"/>
                    <a:pt x="1507" y="698"/>
                    <a:pt x="1507" y="698"/>
                  </a:cubicBezTo>
                  <a:cubicBezTo>
                    <a:pt x="1502" y="693"/>
                    <a:pt x="1500" y="688"/>
                    <a:pt x="1500" y="682"/>
                  </a:cubicBezTo>
                  <a:cubicBezTo>
                    <a:pt x="1500" y="462"/>
                    <a:pt x="1500" y="462"/>
                    <a:pt x="1500" y="462"/>
                  </a:cubicBezTo>
                  <a:cubicBezTo>
                    <a:pt x="1445" y="462"/>
                    <a:pt x="1445" y="462"/>
                    <a:pt x="1445" y="462"/>
                  </a:cubicBezTo>
                  <a:cubicBezTo>
                    <a:pt x="1435" y="505"/>
                    <a:pt x="1397" y="536"/>
                    <a:pt x="1352" y="536"/>
                  </a:cubicBezTo>
                  <a:cubicBezTo>
                    <a:pt x="1298" y="536"/>
                    <a:pt x="1255" y="493"/>
                    <a:pt x="1255" y="440"/>
                  </a:cubicBezTo>
                  <a:cubicBezTo>
                    <a:pt x="1255" y="387"/>
                    <a:pt x="1298" y="344"/>
                    <a:pt x="1352" y="344"/>
                  </a:cubicBezTo>
                  <a:cubicBezTo>
                    <a:pt x="1397" y="344"/>
                    <a:pt x="1435" y="375"/>
                    <a:pt x="1445" y="418"/>
                  </a:cubicBezTo>
                  <a:cubicBezTo>
                    <a:pt x="1500" y="418"/>
                    <a:pt x="1500" y="418"/>
                    <a:pt x="1500" y="418"/>
                  </a:cubicBezTo>
                  <a:cubicBezTo>
                    <a:pt x="1500" y="292"/>
                    <a:pt x="1500" y="292"/>
                    <a:pt x="1500" y="292"/>
                  </a:cubicBezTo>
                  <a:cubicBezTo>
                    <a:pt x="1457" y="282"/>
                    <a:pt x="1426" y="244"/>
                    <a:pt x="1426" y="198"/>
                  </a:cubicBezTo>
                  <a:cubicBezTo>
                    <a:pt x="1426" y="145"/>
                    <a:pt x="1469" y="102"/>
                    <a:pt x="1522" y="102"/>
                  </a:cubicBezTo>
                  <a:cubicBezTo>
                    <a:pt x="1575" y="102"/>
                    <a:pt x="1619" y="145"/>
                    <a:pt x="1619" y="198"/>
                  </a:cubicBezTo>
                  <a:cubicBezTo>
                    <a:pt x="1619" y="244"/>
                    <a:pt x="1587" y="282"/>
                    <a:pt x="1544" y="292"/>
                  </a:cubicBezTo>
                  <a:cubicBezTo>
                    <a:pt x="1544" y="673"/>
                    <a:pt x="1544" y="673"/>
                    <a:pt x="1544" y="673"/>
                  </a:cubicBezTo>
                  <a:cubicBezTo>
                    <a:pt x="1656" y="785"/>
                    <a:pt x="1656" y="785"/>
                    <a:pt x="1656" y="785"/>
                  </a:cubicBezTo>
                  <a:cubicBezTo>
                    <a:pt x="1656" y="692"/>
                    <a:pt x="1656" y="692"/>
                    <a:pt x="1656" y="692"/>
                  </a:cubicBezTo>
                  <a:cubicBezTo>
                    <a:pt x="1656" y="686"/>
                    <a:pt x="1658" y="680"/>
                    <a:pt x="1662" y="676"/>
                  </a:cubicBezTo>
                  <a:cubicBezTo>
                    <a:pt x="1784" y="554"/>
                    <a:pt x="1784" y="554"/>
                    <a:pt x="1784" y="554"/>
                  </a:cubicBezTo>
                  <a:cubicBezTo>
                    <a:pt x="1788" y="550"/>
                    <a:pt x="1794" y="548"/>
                    <a:pt x="1800" y="548"/>
                  </a:cubicBezTo>
                  <a:cubicBezTo>
                    <a:pt x="1903" y="548"/>
                    <a:pt x="1903" y="548"/>
                    <a:pt x="1903" y="548"/>
                  </a:cubicBezTo>
                  <a:cubicBezTo>
                    <a:pt x="1913" y="505"/>
                    <a:pt x="1951" y="474"/>
                    <a:pt x="1997" y="474"/>
                  </a:cubicBezTo>
                  <a:cubicBezTo>
                    <a:pt x="2050" y="474"/>
                    <a:pt x="2093" y="517"/>
                    <a:pt x="2093" y="570"/>
                  </a:cubicBezTo>
                  <a:close/>
                  <a:moveTo>
                    <a:pt x="1404" y="440"/>
                  </a:moveTo>
                  <a:cubicBezTo>
                    <a:pt x="1404" y="411"/>
                    <a:pt x="1380" y="388"/>
                    <a:pt x="1352" y="388"/>
                  </a:cubicBezTo>
                  <a:cubicBezTo>
                    <a:pt x="1323" y="388"/>
                    <a:pt x="1299" y="411"/>
                    <a:pt x="1299" y="440"/>
                  </a:cubicBezTo>
                  <a:cubicBezTo>
                    <a:pt x="1299" y="469"/>
                    <a:pt x="1323" y="492"/>
                    <a:pt x="1352" y="492"/>
                  </a:cubicBezTo>
                  <a:cubicBezTo>
                    <a:pt x="1380" y="492"/>
                    <a:pt x="1404" y="469"/>
                    <a:pt x="1404" y="440"/>
                  </a:cubicBezTo>
                  <a:close/>
                  <a:moveTo>
                    <a:pt x="1522" y="251"/>
                  </a:moveTo>
                  <a:cubicBezTo>
                    <a:pt x="1551" y="251"/>
                    <a:pt x="1575" y="227"/>
                    <a:pt x="1575" y="198"/>
                  </a:cubicBezTo>
                  <a:cubicBezTo>
                    <a:pt x="1575" y="169"/>
                    <a:pt x="1551" y="146"/>
                    <a:pt x="1522" y="146"/>
                  </a:cubicBezTo>
                  <a:cubicBezTo>
                    <a:pt x="1493" y="146"/>
                    <a:pt x="1470" y="169"/>
                    <a:pt x="1470" y="198"/>
                  </a:cubicBezTo>
                  <a:cubicBezTo>
                    <a:pt x="1470" y="227"/>
                    <a:pt x="1493" y="251"/>
                    <a:pt x="1522" y="251"/>
                  </a:cubicBezTo>
                  <a:close/>
                  <a:moveTo>
                    <a:pt x="2049" y="570"/>
                  </a:moveTo>
                  <a:cubicBezTo>
                    <a:pt x="2049" y="541"/>
                    <a:pt x="2026" y="518"/>
                    <a:pt x="1997" y="518"/>
                  </a:cubicBezTo>
                  <a:cubicBezTo>
                    <a:pt x="1968" y="518"/>
                    <a:pt x="1945" y="541"/>
                    <a:pt x="1945" y="570"/>
                  </a:cubicBezTo>
                  <a:cubicBezTo>
                    <a:pt x="1945" y="599"/>
                    <a:pt x="1968" y="622"/>
                    <a:pt x="1997" y="622"/>
                  </a:cubicBezTo>
                  <a:cubicBezTo>
                    <a:pt x="2026" y="622"/>
                    <a:pt x="2049" y="599"/>
                    <a:pt x="2049" y="5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32">
              <a:extLst>
                <a:ext uri="{FF2B5EF4-FFF2-40B4-BE49-F238E27FC236}">
                  <a16:creationId xmlns="" xmlns:a16="http://schemas.microsoft.com/office/drawing/2014/main" id="{E28F1E45-EC36-4841-AE6B-A842DE4BEBD3}"/>
                </a:ext>
              </a:extLst>
            </p:cNvPr>
            <p:cNvSpPr>
              <a:spLocks noEditPoints="1"/>
            </p:cNvSpPr>
            <p:nvPr/>
          </p:nvSpPr>
          <p:spPr bwMode="auto">
            <a:xfrm>
              <a:off x="2574" y="300"/>
              <a:ext cx="2120" cy="3609"/>
            </a:xfrm>
            <a:custGeom>
              <a:avLst/>
              <a:gdLst>
                <a:gd name="T0" fmla="*/ 204 w 1132"/>
                <a:gd name="T1" fmla="*/ 1471 h 1925"/>
                <a:gd name="T2" fmla="*/ 252 w 1132"/>
                <a:gd name="T3" fmla="*/ 1283 h 1925"/>
                <a:gd name="T4" fmla="*/ 412 w 1132"/>
                <a:gd name="T5" fmla="*/ 1048 h 1925"/>
                <a:gd name="T6" fmla="*/ 476 w 1132"/>
                <a:gd name="T7" fmla="*/ 879 h 1925"/>
                <a:gd name="T8" fmla="*/ 476 w 1132"/>
                <a:gd name="T9" fmla="*/ 1129 h 1925"/>
                <a:gd name="T10" fmla="*/ 310 w 1132"/>
                <a:gd name="T11" fmla="*/ 1304 h 1925"/>
                <a:gd name="T12" fmla="*/ 204 w 1132"/>
                <a:gd name="T13" fmla="*/ 1471 h 1925"/>
                <a:gd name="T14" fmla="*/ 670 w 1132"/>
                <a:gd name="T15" fmla="*/ 596 h 1925"/>
                <a:gd name="T16" fmla="*/ 573 w 1132"/>
                <a:gd name="T17" fmla="*/ 964 h 1925"/>
                <a:gd name="T18" fmla="*/ 622 w 1132"/>
                <a:gd name="T19" fmla="*/ 1100 h 1925"/>
                <a:gd name="T20" fmla="*/ 411 w 1132"/>
                <a:gd name="T21" fmla="*/ 1620 h 1925"/>
                <a:gd name="T22" fmla="*/ 707 w 1132"/>
                <a:gd name="T23" fmla="*/ 1175 h 1925"/>
                <a:gd name="T24" fmla="*/ 677 w 1132"/>
                <a:gd name="T25" fmla="*/ 961 h 1925"/>
                <a:gd name="T26" fmla="*/ 649 w 1132"/>
                <a:gd name="T27" fmla="*/ 847 h 1925"/>
                <a:gd name="T28" fmla="*/ 691 w 1132"/>
                <a:gd name="T29" fmla="*/ 756 h 1925"/>
                <a:gd name="T30" fmla="*/ 670 w 1132"/>
                <a:gd name="T31" fmla="*/ 596 h 1925"/>
                <a:gd name="T32" fmla="*/ 787 w 1132"/>
                <a:gd name="T33" fmla="*/ 924 h 1925"/>
                <a:gd name="T34" fmla="*/ 833 w 1132"/>
                <a:gd name="T35" fmla="*/ 1220 h 1925"/>
                <a:gd name="T36" fmla="*/ 924 w 1132"/>
                <a:gd name="T37" fmla="*/ 1271 h 1925"/>
                <a:gd name="T38" fmla="*/ 1132 w 1132"/>
                <a:gd name="T39" fmla="*/ 1496 h 1925"/>
                <a:gd name="T40" fmla="*/ 960 w 1132"/>
                <a:gd name="T41" fmla="*/ 1175 h 1925"/>
                <a:gd name="T42" fmla="*/ 876 w 1132"/>
                <a:gd name="T43" fmla="*/ 1156 h 1925"/>
                <a:gd name="T44" fmla="*/ 787 w 1132"/>
                <a:gd name="T45" fmla="*/ 924 h 1925"/>
                <a:gd name="T46" fmla="*/ 190 w 1132"/>
                <a:gd name="T47" fmla="*/ 1778 h 1925"/>
                <a:gd name="T48" fmla="*/ 214 w 1132"/>
                <a:gd name="T49" fmla="*/ 1613 h 1925"/>
                <a:gd name="T50" fmla="*/ 292 w 1132"/>
                <a:gd name="T51" fmla="*/ 1471 h 1925"/>
                <a:gd name="T52" fmla="*/ 178 w 1132"/>
                <a:gd name="T53" fmla="*/ 1571 h 1925"/>
                <a:gd name="T54" fmla="*/ 132 w 1132"/>
                <a:gd name="T55" fmla="*/ 1705 h 1925"/>
                <a:gd name="T56" fmla="*/ 60 w 1132"/>
                <a:gd name="T57" fmla="*/ 1705 h 1925"/>
                <a:gd name="T58" fmla="*/ 0 w 1132"/>
                <a:gd name="T59" fmla="*/ 1925 h 1925"/>
                <a:gd name="T60" fmla="*/ 190 w 1132"/>
                <a:gd name="T61" fmla="*/ 1778 h 1925"/>
                <a:gd name="T62" fmla="*/ 649 w 1132"/>
                <a:gd name="T63" fmla="*/ 331 h 1925"/>
                <a:gd name="T64" fmla="*/ 668 w 1132"/>
                <a:gd name="T65" fmla="*/ 328 h 1925"/>
                <a:gd name="T66" fmla="*/ 669 w 1132"/>
                <a:gd name="T67" fmla="*/ 328 h 1925"/>
                <a:gd name="T68" fmla="*/ 701 w 1132"/>
                <a:gd name="T69" fmla="*/ 336 h 1925"/>
                <a:gd name="T70" fmla="*/ 701 w 1132"/>
                <a:gd name="T71" fmla="*/ 200 h 1925"/>
                <a:gd name="T72" fmla="*/ 707 w 1132"/>
                <a:gd name="T73" fmla="*/ 193 h 1925"/>
                <a:gd name="T74" fmla="*/ 1010 w 1132"/>
                <a:gd name="T75" fmla="*/ 193 h 1925"/>
                <a:gd name="T76" fmla="*/ 1014 w 1132"/>
                <a:gd name="T77" fmla="*/ 182 h 1925"/>
                <a:gd name="T78" fmla="*/ 933 w 1132"/>
                <a:gd name="T79" fmla="*/ 101 h 1925"/>
                <a:gd name="T80" fmla="*/ 933 w 1132"/>
                <a:gd name="T81" fmla="*/ 92 h 1925"/>
                <a:gd name="T82" fmla="*/ 1014 w 1132"/>
                <a:gd name="T83" fmla="*/ 11 h 1925"/>
                <a:gd name="T84" fmla="*/ 1010 w 1132"/>
                <a:gd name="T85" fmla="*/ 0 h 1925"/>
                <a:gd name="T86" fmla="*/ 694 w 1132"/>
                <a:gd name="T87" fmla="*/ 0 h 1925"/>
                <a:gd name="T88" fmla="*/ 655 w 1132"/>
                <a:gd name="T89" fmla="*/ 0 h 1925"/>
                <a:gd name="T90" fmla="*/ 655 w 1132"/>
                <a:gd name="T91" fmla="*/ 0 h 1925"/>
                <a:gd name="T92" fmla="*/ 649 w 1132"/>
                <a:gd name="T93" fmla="*/ 7 h 1925"/>
                <a:gd name="T94" fmla="*/ 649 w 1132"/>
                <a:gd name="T95" fmla="*/ 193 h 1925"/>
                <a:gd name="T96" fmla="*/ 649 w 1132"/>
                <a:gd name="T97" fmla="*/ 193 h 1925"/>
                <a:gd name="T98" fmla="*/ 649 w 1132"/>
                <a:gd name="T99" fmla="*/ 331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2" h="1925">
                  <a:moveTo>
                    <a:pt x="204" y="1471"/>
                  </a:moveTo>
                  <a:cubicBezTo>
                    <a:pt x="252" y="1283"/>
                    <a:pt x="252" y="1283"/>
                    <a:pt x="252" y="1283"/>
                  </a:cubicBezTo>
                  <a:cubicBezTo>
                    <a:pt x="412" y="1048"/>
                    <a:pt x="412" y="1048"/>
                    <a:pt x="412" y="1048"/>
                  </a:cubicBezTo>
                  <a:cubicBezTo>
                    <a:pt x="476" y="879"/>
                    <a:pt x="476" y="879"/>
                    <a:pt x="476" y="879"/>
                  </a:cubicBezTo>
                  <a:cubicBezTo>
                    <a:pt x="476" y="1129"/>
                    <a:pt x="476" y="1129"/>
                    <a:pt x="476" y="1129"/>
                  </a:cubicBezTo>
                  <a:cubicBezTo>
                    <a:pt x="310" y="1304"/>
                    <a:pt x="310" y="1304"/>
                    <a:pt x="310" y="1304"/>
                  </a:cubicBezTo>
                  <a:lnTo>
                    <a:pt x="204" y="1471"/>
                  </a:lnTo>
                  <a:close/>
                  <a:moveTo>
                    <a:pt x="670" y="596"/>
                  </a:moveTo>
                  <a:cubicBezTo>
                    <a:pt x="573" y="964"/>
                    <a:pt x="573" y="964"/>
                    <a:pt x="573" y="964"/>
                  </a:cubicBezTo>
                  <a:cubicBezTo>
                    <a:pt x="622" y="1100"/>
                    <a:pt x="622" y="1100"/>
                    <a:pt x="622" y="1100"/>
                  </a:cubicBezTo>
                  <a:cubicBezTo>
                    <a:pt x="411" y="1620"/>
                    <a:pt x="411" y="1620"/>
                    <a:pt x="411" y="1620"/>
                  </a:cubicBezTo>
                  <a:cubicBezTo>
                    <a:pt x="707" y="1175"/>
                    <a:pt x="707" y="1175"/>
                    <a:pt x="707" y="1175"/>
                  </a:cubicBezTo>
                  <a:cubicBezTo>
                    <a:pt x="677" y="961"/>
                    <a:pt x="677" y="961"/>
                    <a:pt x="677" y="961"/>
                  </a:cubicBezTo>
                  <a:cubicBezTo>
                    <a:pt x="649" y="847"/>
                    <a:pt x="649" y="847"/>
                    <a:pt x="649" y="847"/>
                  </a:cubicBezTo>
                  <a:cubicBezTo>
                    <a:pt x="691" y="756"/>
                    <a:pt x="691" y="756"/>
                    <a:pt x="691" y="756"/>
                  </a:cubicBezTo>
                  <a:lnTo>
                    <a:pt x="670" y="596"/>
                  </a:lnTo>
                  <a:close/>
                  <a:moveTo>
                    <a:pt x="787" y="924"/>
                  </a:moveTo>
                  <a:cubicBezTo>
                    <a:pt x="833" y="1220"/>
                    <a:pt x="833" y="1220"/>
                    <a:pt x="833" y="1220"/>
                  </a:cubicBezTo>
                  <a:cubicBezTo>
                    <a:pt x="924" y="1271"/>
                    <a:pt x="924" y="1271"/>
                    <a:pt x="924" y="1271"/>
                  </a:cubicBezTo>
                  <a:cubicBezTo>
                    <a:pt x="1132" y="1496"/>
                    <a:pt x="1132" y="1496"/>
                    <a:pt x="1132" y="1496"/>
                  </a:cubicBezTo>
                  <a:cubicBezTo>
                    <a:pt x="960" y="1175"/>
                    <a:pt x="960" y="1175"/>
                    <a:pt x="960" y="1175"/>
                  </a:cubicBezTo>
                  <a:cubicBezTo>
                    <a:pt x="876" y="1156"/>
                    <a:pt x="876" y="1156"/>
                    <a:pt x="876" y="1156"/>
                  </a:cubicBezTo>
                  <a:lnTo>
                    <a:pt x="787" y="924"/>
                  </a:lnTo>
                  <a:close/>
                  <a:moveTo>
                    <a:pt x="190" y="1778"/>
                  </a:moveTo>
                  <a:cubicBezTo>
                    <a:pt x="214" y="1613"/>
                    <a:pt x="214" y="1613"/>
                    <a:pt x="214" y="1613"/>
                  </a:cubicBezTo>
                  <a:cubicBezTo>
                    <a:pt x="292" y="1471"/>
                    <a:pt x="292" y="1471"/>
                    <a:pt x="292" y="1471"/>
                  </a:cubicBezTo>
                  <a:cubicBezTo>
                    <a:pt x="178" y="1571"/>
                    <a:pt x="178" y="1571"/>
                    <a:pt x="178" y="1571"/>
                  </a:cubicBezTo>
                  <a:cubicBezTo>
                    <a:pt x="132" y="1705"/>
                    <a:pt x="132" y="1705"/>
                    <a:pt x="132" y="1705"/>
                  </a:cubicBezTo>
                  <a:cubicBezTo>
                    <a:pt x="60" y="1705"/>
                    <a:pt x="60" y="1705"/>
                    <a:pt x="60" y="1705"/>
                  </a:cubicBezTo>
                  <a:cubicBezTo>
                    <a:pt x="0" y="1925"/>
                    <a:pt x="0" y="1925"/>
                    <a:pt x="0" y="1925"/>
                  </a:cubicBezTo>
                  <a:lnTo>
                    <a:pt x="190" y="1778"/>
                  </a:lnTo>
                  <a:close/>
                  <a:moveTo>
                    <a:pt x="649" y="331"/>
                  </a:moveTo>
                  <a:cubicBezTo>
                    <a:pt x="655" y="329"/>
                    <a:pt x="662" y="328"/>
                    <a:pt x="668" y="328"/>
                  </a:cubicBezTo>
                  <a:cubicBezTo>
                    <a:pt x="669" y="328"/>
                    <a:pt x="669" y="328"/>
                    <a:pt x="669" y="328"/>
                  </a:cubicBezTo>
                  <a:cubicBezTo>
                    <a:pt x="680" y="328"/>
                    <a:pt x="691" y="331"/>
                    <a:pt x="701" y="336"/>
                  </a:cubicBezTo>
                  <a:cubicBezTo>
                    <a:pt x="701" y="200"/>
                    <a:pt x="701" y="200"/>
                    <a:pt x="701" y="200"/>
                  </a:cubicBezTo>
                  <a:cubicBezTo>
                    <a:pt x="701" y="196"/>
                    <a:pt x="704" y="193"/>
                    <a:pt x="707" y="193"/>
                  </a:cubicBezTo>
                  <a:cubicBezTo>
                    <a:pt x="1010" y="193"/>
                    <a:pt x="1010" y="193"/>
                    <a:pt x="1010" y="193"/>
                  </a:cubicBezTo>
                  <a:cubicBezTo>
                    <a:pt x="1016" y="193"/>
                    <a:pt x="1018" y="186"/>
                    <a:pt x="1014" y="182"/>
                  </a:cubicBezTo>
                  <a:cubicBezTo>
                    <a:pt x="933" y="101"/>
                    <a:pt x="933" y="101"/>
                    <a:pt x="933" y="101"/>
                  </a:cubicBezTo>
                  <a:cubicBezTo>
                    <a:pt x="931" y="99"/>
                    <a:pt x="931" y="95"/>
                    <a:pt x="933" y="92"/>
                  </a:cubicBezTo>
                  <a:cubicBezTo>
                    <a:pt x="1014" y="11"/>
                    <a:pt x="1014" y="11"/>
                    <a:pt x="1014" y="11"/>
                  </a:cubicBezTo>
                  <a:cubicBezTo>
                    <a:pt x="1018" y="7"/>
                    <a:pt x="1016" y="0"/>
                    <a:pt x="1010" y="0"/>
                  </a:cubicBezTo>
                  <a:cubicBezTo>
                    <a:pt x="694" y="0"/>
                    <a:pt x="694" y="0"/>
                    <a:pt x="694" y="0"/>
                  </a:cubicBezTo>
                  <a:cubicBezTo>
                    <a:pt x="655" y="0"/>
                    <a:pt x="655" y="0"/>
                    <a:pt x="655" y="0"/>
                  </a:cubicBezTo>
                  <a:cubicBezTo>
                    <a:pt x="655" y="0"/>
                    <a:pt x="655" y="0"/>
                    <a:pt x="655" y="0"/>
                  </a:cubicBezTo>
                  <a:cubicBezTo>
                    <a:pt x="652" y="0"/>
                    <a:pt x="649" y="3"/>
                    <a:pt x="649" y="7"/>
                  </a:cubicBezTo>
                  <a:cubicBezTo>
                    <a:pt x="649" y="193"/>
                    <a:pt x="649" y="193"/>
                    <a:pt x="649" y="193"/>
                  </a:cubicBezTo>
                  <a:cubicBezTo>
                    <a:pt x="649" y="193"/>
                    <a:pt x="649" y="193"/>
                    <a:pt x="649" y="193"/>
                  </a:cubicBezTo>
                  <a:lnTo>
                    <a:pt x="649" y="3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 name="bcgIcons_CurvedRoad">
            <a:extLst>
              <a:ext uri="{FF2B5EF4-FFF2-40B4-BE49-F238E27FC236}">
                <a16:creationId xmlns="" xmlns:a16="http://schemas.microsoft.com/office/drawing/2014/main" id="{CA03986D-1822-40B3-84B7-81CCEA1D0553}"/>
              </a:ext>
            </a:extLst>
          </p:cNvPr>
          <p:cNvGrpSpPr>
            <a:grpSpLocks noChangeAspect="1"/>
          </p:cNvGrpSpPr>
          <p:nvPr/>
        </p:nvGrpSpPr>
        <p:grpSpPr bwMode="auto">
          <a:xfrm>
            <a:off x="3541581" y="1716497"/>
            <a:ext cx="1072235" cy="1073229"/>
            <a:chOff x="1682" y="0"/>
            <a:chExt cx="4316" cy="4320"/>
          </a:xfrm>
        </p:grpSpPr>
        <p:sp>
          <p:nvSpPr>
            <p:cNvPr id="20" name="AutoShape 13">
              <a:extLst>
                <a:ext uri="{FF2B5EF4-FFF2-40B4-BE49-F238E27FC236}">
                  <a16:creationId xmlns="" xmlns:a16="http://schemas.microsoft.com/office/drawing/2014/main" id="{38D6B196-8244-416F-B5DB-A1E0AE75B7C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5">
              <a:extLst>
                <a:ext uri="{FF2B5EF4-FFF2-40B4-BE49-F238E27FC236}">
                  <a16:creationId xmlns="" xmlns:a16="http://schemas.microsoft.com/office/drawing/2014/main" id="{4DE021B3-E9E5-45D5-85F8-E847B1250258}"/>
                </a:ext>
              </a:extLst>
            </p:cNvPr>
            <p:cNvSpPr>
              <a:spLocks noEditPoints="1"/>
            </p:cNvSpPr>
            <p:nvPr/>
          </p:nvSpPr>
          <p:spPr bwMode="auto">
            <a:xfrm>
              <a:off x="2285" y="1020"/>
              <a:ext cx="3112" cy="2591"/>
            </a:xfrm>
            <a:custGeom>
              <a:avLst/>
              <a:gdLst>
                <a:gd name="T0" fmla="*/ 1619 w 1661"/>
                <a:gd name="T1" fmla="*/ 563 h 1382"/>
                <a:gd name="T2" fmla="*/ 1436 w 1661"/>
                <a:gd name="T3" fmla="*/ 563 h 1382"/>
                <a:gd name="T4" fmla="*/ 1259 w 1661"/>
                <a:gd name="T5" fmla="*/ 211 h 1382"/>
                <a:gd name="T6" fmla="*/ 1348 w 1661"/>
                <a:gd name="T7" fmla="*/ 33 h 1382"/>
                <a:gd name="T8" fmla="*/ 1387 w 1661"/>
                <a:gd name="T9" fmla="*/ 33 h 1382"/>
                <a:gd name="T10" fmla="*/ 1638 w 1661"/>
                <a:gd name="T11" fmla="*/ 531 h 1382"/>
                <a:gd name="T12" fmla="*/ 1619 w 1661"/>
                <a:gd name="T13" fmla="*/ 563 h 1382"/>
                <a:gd name="T14" fmla="*/ 1112 w 1661"/>
                <a:gd name="T15" fmla="*/ 1382 h 1382"/>
                <a:gd name="T16" fmla="*/ 0 w 1661"/>
                <a:gd name="T17" fmla="*/ 1382 h 1382"/>
                <a:gd name="T18" fmla="*/ 723 w 1661"/>
                <a:gd name="T19" fmla="*/ 943 h 1382"/>
                <a:gd name="T20" fmla="*/ 777 w 1661"/>
                <a:gd name="T21" fmla="*/ 530 h 1382"/>
                <a:gd name="T22" fmla="*/ 737 w 1661"/>
                <a:gd name="T23" fmla="*/ 451 h 1382"/>
                <a:gd name="T24" fmla="*/ 1301 w 1661"/>
                <a:gd name="T25" fmla="*/ 679 h 1382"/>
                <a:gd name="T26" fmla="*/ 1112 w 1661"/>
                <a:gd name="T27" fmla="*/ 1382 h 1382"/>
                <a:gd name="T28" fmla="*/ 950 w 1661"/>
                <a:gd name="T29" fmla="*/ 1072 h 1382"/>
                <a:gd name="T30" fmla="*/ 920 w 1661"/>
                <a:gd name="T31" fmla="*/ 1067 h 1382"/>
                <a:gd name="T32" fmla="*/ 805 w 1661"/>
                <a:gd name="T33" fmla="*/ 1143 h 1382"/>
                <a:gd name="T34" fmla="*/ 624 w 1661"/>
                <a:gd name="T35" fmla="*/ 1278 h 1382"/>
                <a:gd name="T36" fmla="*/ 626 w 1661"/>
                <a:gd name="T37" fmla="*/ 1309 h 1382"/>
                <a:gd name="T38" fmla="*/ 641 w 1661"/>
                <a:gd name="T39" fmla="*/ 1315 h 1382"/>
                <a:gd name="T40" fmla="*/ 657 w 1661"/>
                <a:gd name="T41" fmla="*/ 1307 h 1382"/>
                <a:gd name="T42" fmla="*/ 829 w 1661"/>
                <a:gd name="T43" fmla="*/ 1180 h 1382"/>
                <a:gd name="T44" fmla="*/ 945 w 1661"/>
                <a:gd name="T45" fmla="*/ 1103 h 1382"/>
                <a:gd name="T46" fmla="*/ 950 w 1661"/>
                <a:gd name="T47" fmla="*/ 1072 h 1382"/>
                <a:gd name="T48" fmla="*/ 1101 w 1661"/>
                <a:gd name="T49" fmla="*/ 669 h 1382"/>
                <a:gd name="T50" fmla="*/ 1111 w 1661"/>
                <a:gd name="T51" fmla="*/ 673 h 1382"/>
                <a:gd name="T52" fmla="*/ 1121 w 1661"/>
                <a:gd name="T53" fmla="*/ 669 h 1382"/>
                <a:gd name="T54" fmla="*/ 1120 w 1661"/>
                <a:gd name="T55" fmla="*/ 649 h 1382"/>
                <a:gd name="T56" fmla="*/ 998 w 1661"/>
                <a:gd name="T57" fmla="*/ 565 h 1382"/>
                <a:gd name="T58" fmla="*/ 980 w 1661"/>
                <a:gd name="T59" fmla="*/ 571 h 1382"/>
                <a:gd name="T60" fmla="*/ 985 w 1661"/>
                <a:gd name="T61" fmla="*/ 590 h 1382"/>
                <a:gd name="T62" fmla="*/ 1101 w 1661"/>
                <a:gd name="T63" fmla="*/ 669 h 1382"/>
                <a:gd name="T64" fmla="*/ 1178 w 1661"/>
                <a:gd name="T65" fmla="*/ 785 h 1382"/>
                <a:gd name="T66" fmla="*/ 1153 w 1661"/>
                <a:gd name="T67" fmla="*/ 804 h 1382"/>
                <a:gd name="T68" fmla="*/ 1042 w 1661"/>
                <a:gd name="T69" fmla="*/ 971 h 1382"/>
                <a:gd name="T70" fmla="*/ 1041 w 1661"/>
                <a:gd name="T71" fmla="*/ 1002 h 1382"/>
                <a:gd name="T72" fmla="*/ 1057 w 1661"/>
                <a:gd name="T73" fmla="*/ 1010 h 1382"/>
                <a:gd name="T74" fmla="*/ 1072 w 1661"/>
                <a:gd name="T75" fmla="*/ 1004 h 1382"/>
                <a:gd name="T76" fmla="*/ 1197 w 1661"/>
                <a:gd name="T77" fmla="*/ 809 h 1382"/>
                <a:gd name="T78" fmla="*/ 1178 w 1661"/>
                <a:gd name="T79" fmla="*/ 785 h 1382"/>
                <a:gd name="T80" fmla="*/ 426 w 1661"/>
                <a:gd name="T81" fmla="*/ 16 h 1382"/>
                <a:gd name="T82" fmla="*/ 71 w 1661"/>
                <a:gd name="T83" fmla="*/ 721 h 1382"/>
                <a:gd name="T84" fmla="*/ 91 w 1661"/>
                <a:gd name="T85" fmla="*/ 753 h 1382"/>
                <a:gd name="T86" fmla="*/ 800 w 1661"/>
                <a:gd name="T87" fmla="*/ 753 h 1382"/>
                <a:gd name="T88" fmla="*/ 820 w 1661"/>
                <a:gd name="T89" fmla="*/ 721 h 1382"/>
                <a:gd name="T90" fmla="*/ 465 w 1661"/>
                <a:gd name="T91" fmla="*/ 16 h 1382"/>
                <a:gd name="T92" fmla="*/ 426 w 1661"/>
                <a:gd name="T93" fmla="*/ 16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1" h="1382">
                  <a:moveTo>
                    <a:pt x="1619" y="563"/>
                  </a:moveTo>
                  <a:cubicBezTo>
                    <a:pt x="1436" y="563"/>
                    <a:pt x="1436" y="563"/>
                    <a:pt x="1436" y="563"/>
                  </a:cubicBezTo>
                  <a:cubicBezTo>
                    <a:pt x="1259" y="211"/>
                    <a:pt x="1259" y="211"/>
                    <a:pt x="1259" y="211"/>
                  </a:cubicBezTo>
                  <a:cubicBezTo>
                    <a:pt x="1348" y="33"/>
                    <a:pt x="1348" y="33"/>
                    <a:pt x="1348" y="33"/>
                  </a:cubicBezTo>
                  <a:cubicBezTo>
                    <a:pt x="1356" y="17"/>
                    <a:pt x="1379" y="17"/>
                    <a:pt x="1387" y="33"/>
                  </a:cubicBezTo>
                  <a:cubicBezTo>
                    <a:pt x="1638" y="531"/>
                    <a:pt x="1638" y="531"/>
                    <a:pt x="1638" y="531"/>
                  </a:cubicBezTo>
                  <a:cubicBezTo>
                    <a:pt x="1646" y="546"/>
                    <a:pt x="1635" y="563"/>
                    <a:pt x="1619" y="563"/>
                  </a:cubicBezTo>
                  <a:close/>
                  <a:moveTo>
                    <a:pt x="1112" y="1382"/>
                  </a:moveTo>
                  <a:cubicBezTo>
                    <a:pt x="0" y="1382"/>
                    <a:pt x="0" y="1382"/>
                    <a:pt x="0" y="1382"/>
                  </a:cubicBezTo>
                  <a:cubicBezTo>
                    <a:pt x="0" y="1382"/>
                    <a:pt x="130" y="1163"/>
                    <a:pt x="723" y="943"/>
                  </a:cubicBezTo>
                  <a:cubicBezTo>
                    <a:pt x="975" y="849"/>
                    <a:pt x="1166" y="710"/>
                    <a:pt x="777" y="530"/>
                  </a:cubicBezTo>
                  <a:cubicBezTo>
                    <a:pt x="737" y="451"/>
                    <a:pt x="737" y="451"/>
                    <a:pt x="737" y="451"/>
                  </a:cubicBezTo>
                  <a:cubicBezTo>
                    <a:pt x="879" y="465"/>
                    <a:pt x="1091" y="516"/>
                    <a:pt x="1301" y="679"/>
                  </a:cubicBezTo>
                  <a:cubicBezTo>
                    <a:pt x="1661" y="960"/>
                    <a:pt x="1212" y="1160"/>
                    <a:pt x="1112" y="1382"/>
                  </a:cubicBezTo>
                  <a:close/>
                  <a:moveTo>
                    <a:pt x="950" y="1072"/>
                  </a:moveTo>
                  <a:cubicBezTo>
                    <a:pt x="944" y="1062"/>
                    <a:pt x="930" y="1060"/>
                    <a:pt x="920" y="1067"/>
                  </a:cubicBezTo>
                  <a:cubicBezTo>
                    <a:pt x="882" y="1093"/>
                    <a:pt x="843" y="1119"/>
                    <a:pt x="805" y="1143"/>
                  </a:cubicBezTo>
                  <a:cubicBezTo>
                    <a:pt x="726" y="1195"/>
                    <a:pt x="657" y="1240"/>
                    <a:pt x="624" y="1278"/>
                  </a:cubicBezTo>
                  <a:cubicBezTo>
                    <a:pt x="616" y="1287"/>
                    <a:pt x="617" y="1301"/>
                    <a:pt x="626" y="1309"/>
                  </a:cubicBezTo>
                  <a:cubicBezTo>
                    <a:pt x="631" y="1313"/>
                    <a:pt x="636" y="1315"/>
                    <a:pt x="641" y="1315"/>
                  </a:cubicBezTo>
                  <a:cubicBezTo>
                    <a:pt x="647" y="1315"/>
                    <a:pt x="653" y="1312"/>
                    <a:pt x="657" y="1307"/>
                  </a:cubicBezTo>
                  <a:cubicBezTo>
                    <a:pt x="687" y="1273"/>
                    <a:pt x="756" y="1228"/>
                    <a:pt x="829" y="1180"/>
                  </a:cubicBezTo>
                  <a:cubicBezTo>
                    <a:pt x="867" y="1155"/>
                    <a:pt x="906" y="1130"/>
                    <a:pt x="945" y="1103"/>
                  </a:cubicBezTo>
                  <a:cubicBezTo>
                    <a:pt x="955" y="1096"/>
                    <a:pt x="957" y="1082"/>
                    <a:pt x="950" y="1072"/>
                  </a:cubicBezTo>
                  <a:close/>
                  <a:moveTo>
                    <a:pt x="1101" y="669"/>
                  </a:moveTo>
                  <a:cubicBezTo>
                    <a:pt x="1104" y="672"/>
                    <a:pt x="1107" y="673"/>
                    <a:pt x="1111" y="673"/>
                  </a:cubicBezTo>
                  <a:cubicBezTo>
                    <a:pt x="1115" y="673"/>
                    <a:pt x="1118" y="672"/>
                    <a:pt x="1121" y="669"/>
                  </a:cubicBezTo>
                  <a:cubicBezTo>
                    <a:pt x="1126" y="663"/>
                    <a:pt x="1126" y="654"/>
                    <a:pt x="1120" y="649"/>
                  </a:cubicBezTo>
                  <a:cubicBezTo>
                    <a:pt x="1090" y="620"/>
                    <a:pt x="1049" y="592"/>
                    <a:pt x="998" y="565"/>
                  </a:cubicBezTo>
                  <a:cubicBezTo>
                    <a:pt x="992" y="562"/>
                    <a:pt x="983" y="564"/>
                    <a:pt x="980" y="571"/>
                  </a:cubicBezTo>
                  <a:cubicBezTo>
                    <a:pt x="976" y="578"/>
                    <a:pt x="978" y="586"/>
                    <a:pt x="985" y="590"/>
                  </a:cubicBezTo>
                  <a:cubicBezTo>
                    <a:pt x="1034" y="616"/>
                    <a:pt x="1073" y="642"/>
                    <a:pt x="1101" y="669"/>
                  </a:cubicBezTo>
                  <a:close/>
                  <a:moveTo>
                    <a:pt x="1178" y="785"/>
                  </a:moveTo>
                  <a:cubicBezTo>
                    <a:pt x="1166" y="784"/>
                    <a:pt x="1155" y="792"/>
                    <a:pt x="1153" y="804"/>
                  </a:cubicBezTo>
                  <a:cubicBezTo>
                    <a:pt x="1147" y="855"/>
                    <a:pt x="1111" y="909"/>
                    <a:pt x="1042" y="971"/>
                  </a:cubicBezTo>
                  <a:cubicBezTo>
                    <a:pt x="1033" y="979"/>
                    <a:pt x="1033" y="993"/>
                    <a:pt x="1041" y="1002"/>
                  </a:cubicBezTo>
                  <a:cubicBezTo>
                    <a:pt x="1045" y="1007"/>
                    <a:pt x="1051" y="1010"/>
                    <a:pt x="1057" y="1010"/>
                  </a:cubicBezTo>
                  <a:cubicBezTo>
                    <a:pt x="1062" y="1010"/>
                    <a:pt x="1068" y="1008"/>
                    <a:pt x="1072" y="1004"/>
                  </a:cubicBezTo>
                  <a:cubicBezTo>
                    <a:pt x="1149" y="935"/>
                    <a:pt x="1190" y="871"/>
                    <a:pt x="1197" y="809"/>
                  </a:cubicBezTo>
                  <a:cubicBezTo>
                    <a:pt x="1199" y="797"/>
                    <a:pt x="1190" y="786"/>
                    <a:pt x="1178" y="785"/>
                  </a:cubicBezTo>
                  <a:close/>
                  <a:moveTo>
                    <a:pt x="426" y="16"/>
                  </a:moveTo>
                  <a:cubicBezTo>
                    <a:pt x="71" y="721"/>
                    <a:pt x="71" y="721"/>
                    <a:pt x="71" y="721"/>
                  </a:cubicBezTo>
                  <a:cubicBezTo>
                    <a:pt x="64" y="736"/>
                    <a:pt x="74" y="753"/>
                    <a:pt x="91" y="753"/>
                  </a:cubicBezTo>
                  <a:cubicBezTo>
                    <a:pt x="800" y="753"/>
                    <a:pt x="800" y="753"/>
                    <a:pt x="800" y="753"/>
                  </a:cubicBezTo>
                  <a:cubicBezTo>
                    <a:pt x="817" y="753"/>
                    <a:pt x="828" y="736"/>
                    <a:pt x="820" y="721"/>
                  </a:cubicBezTo>
                  <a:cubicBezTo>
                    <a:pt x="465" y="16"/>
                    <a:pt x="465" y="16"/>
                    <a:pt x="465" y="16"/>
                  </a:cubicBezTo>
                  <a:cubicBezTo>
                    <a:pt x="457" y="0"/>
                    <a:pt x="434" y="0"/>
                    <a:pt x="426" y="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6">
              <a:extLst>
                <a:ext uri="{FF2B5EF4-FFF2-40B4-BE49-F238E27FC236}">
                  <a16:creationId xmlns="" xmlns:a16="http://schemas.microsoft.com/office/drawing/2014/main" id="{47156B80-B48D-4D06-99FA-814756683B28}"/>
                </a:ext>
              </a:extLst>
            </p:cNvPr>
            <p:cNvSpPr>
              <a:spLocks/>
            </p:cNvSpPr>
            <p:nvPr/>
          </p:nvSpPr>
          <p:spPr bwMode="auto">
            <a:xfrm>
              <a:off x="3531" y="589"/>
              <a:ext cx="1381" cy="1605"/>
            </a:xfrm>
            <a:custGeom>
              <a:avLst/>
              <a:gdLst>
                <a:gd name="T0" fmla="*/ 732 w 737"/>
                <a:gd name="T1" fmla="*/ 824 h 856"/>
                <a:gd name="T2" fmla="*/ 327 w 737"/>
                <a:gd name="T3" fmla="*/ 21 h 856"/>
                <a:gd name="T4" fmla="*/ 294 w 737"/>
                <a:gd name="T5" fmla="*/ 0 h 856"/>
                <a:gd name="T6" fmla="*/ 261 w 737"/>
                <a:gd name="T7" fmla="*/ 20 h 856"/>
                <a:gd name="T8" fmla="*/ 0 w 737"/>
                <a:gd name="T9" fmla="*/ 538 h 856"/>
                <a:gd name="T10" fmla="*/ 25 w 737"/>
                <a:gd name="T11" fmla="*/ 587 h 856"/>
                <a:gd name="T12" fmla="*/ 294 w 737"/>
                <a:gd name="T13" fmla="*/ 53 h 856"/>
                <a:gd name="T14" fmla="*/ 692 w 737"/>
                <a:gd name="T15" fmla="*/ 844 h 856"/>
                <a:gd name="T16" fmla="*/ 712 w 737"/>
                <a:gd name="T17" fmla="*/ 856 h 856"/>
                <a:gd name="T18" fmla="*/ 722 w 737"/>
                <a:gd name="T19" fmla="*/ 854 h 856"/>
                <a:gd name="T20" fmla="*/ 732 w 737"/>
                <a:gd name="T21" fmla="*/ 824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7" h="856">
                  <a:moveTo>
                    <a:pt x="732" y="824"/>
                  </a:moveTo>
                  <a:cubicBezTo>
                    <a:pt x="327" y="21"/>
                    <a:pt x="327" y="21"/>
                    <a:pt x="327" y="21"/>
                  </a:cubicBezTo>
                  <a:cubicBezTo>
                    <a:pt x="320" y="8"/>
                    <a:pt x="308" y="0"/>
                    <a:pt x="294" y="0"/>
                  </a:cubicBezTo>
                  <a:cubicBezTo>
                    <a:pt x="280" y="0"/>
                    <a:pt x="267" y="8"/>
                    <a:pt x="261" y="20"/>
                  </a:cubicBezTo>
                  <a:cubicBezTo>
                    <a:pt x="0" y="538"/>
                    <a:pt x="0" y="538"/>
                    <a:pt x="0" y="538"/>
                  </a:cubicBezTo>
                  <a:cubicBezTo>
                    <a:pt x="25" y="587"/>
                    <a:pt x="25" y="587"/>
                    <a:pt x="25" y="587"/>
                  </a:cubicBezTo>
                  <a:cubicBezTo>
                    <a:pt x="294" y="53"/>
                    <a:pt x="294" y="53"/>
                    <a:pt x="294" y="53"/>
                  </a:cubicBezTo>
                  <a:cubicBezTo>
                    <a:pt x="692" y="844"/>
                    <a:pt x="692" y="844"/>
                    <a:pt x="692" y="844"/>
                  </a:cubicBezTo>
                  <a:cubicBezTo>
                    <a:pt x="696" y="852"/>
                    <a:pt x="704" y="856"/>
                    <a:pt x="712" y="856"/>
                  </a:cubicBezTo>
                  <a:cubicBezTo>
                    <a:pt x="715" y="856"/>
                    <a:pt x="719" y="855"/>
                    <a:pt x="722" y="854"/>
                  </a:cubicBezTo>
                  <a:cubicBezTo>
                    <a:pt x="733" y="848"/>
                    <a:pt x="737" y="835"/>
                    <a:pt x="732" y="82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2"/>
          <p:cNvGrpSpPr>
            <a:grpSpLocks noChangeAspect="1"/>
          </p:cNvGrpSpPr>
          <p:nvPr/>
        </p:nvGrpSpPr>
        <p:grpSpPr>
          <a:xfrm>
            <a:off x="6453162" y="1716497"/>
            <a:ext cx="1072235" cy="1073229"/>
            <a:chOff x="5273802" y="2606040"/>
            <a:chExt cx="1644396" cy="1645920"/>
          </a:xfrm>
        </p:grpSpPr>
        <p:sp>
          <p:nvSpPr>
            <p:cNvPr id="24" name="AutoShape 39">
              <a:extLst>
                <a:ext uri="{FF2B5EF4-FFF2-40B4-BE49-F238E27FC236}">
                  <a16:creationId xmlns="" xmlns:a16="http://schemas.microsoft.com/office/drawing/2014/main" id="{8AD40B5B-DBC9-49C7-8D69-6AB21DFBD7F9}"/>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p:cNvGrpSpPr/>
            <p:nvPr/>
          </p:nvGrpSpPr>
          <p:grpSpPr>
            <a:xfrm>
              <a:off x="5421630" y="2909697"/>
              <a:ext cx="1351788" cy="1037844"/>
              <a:chOff x="5421630" y="2909697"/>
              <a:chExt cx="1351788" cy="1037844"/>
            </a:xfrm>
          </p:grpSpPr>
          <p:sp>
            <p:nvSpPr>
              <p:cNvPr id="32" name="Freeform 41">
                <a:extLst>
                  <a:ext uri="{FF2B5EF4-FFF2-40B4-BE49-F238E27FC236}">
                    <a16:creationId xmlns="" xmlns:a16="http://schemas.microsoft.com/office/drawing/2014/main" id="{0684F976-7325-4709-810F-47C7374AE3CE}"/>
                  </a:ext>
                </a:extLst>
              </p:cNvPr>
              <p:cNvSpPr>
                <a:spLocks noEditPoints="1"/>
              </p:cNvSpPr>
              <p:nvPr/>
            </p:nvSpPr>
            <p:spPr bwMode="auto">
              <a:xfrm>
                <a:off x="5548503" y="3139821"/>
                <a:ext cx="1224915" cy="681228"/>
              </a:xfrm>
              <a:custGeom>
                <a:avLst/>
                <a:gdLst>
                  <a:gd name="T0" fmla="*/ 386 w 1716"/>
                  <a:gd name="T1" fmla="*/ 954 h 954"/>
                  <a:gd name="T2" fmla="*/ 0 w 1716"/>
                  <a:gd name="T3" fmla="*/ 567 h 954"/>
                  <a:gd name="T4" fmla="*/ 386 w 1716"/>
                  <a:gd name="T5" fmla="*/ 181 h 954"/>
                  <a:gd name="T6" fmla="*/ 772 w 1716"/>
                  <a:gd name="T7" fmla="*/ 567 h 954"/>
                  <a:gd name="T8" fmla="*/ 386 w 1716"/>
                  <a:gd name="T9" fmla="*/ 954 h 954"/>
                  <a:gd name="T10" fmla="*/ 386 w 1716"/>
                  <a:gd name="T11" fmla="*/ 225 h 954"/>
                  <a:gd name="T12" fmla="*/ 44 w 1716"/>
                  <a:gd name="T13" fmla="*/ 567 h 954"/>
                  <a:gd name="T14" fmla="*/ 386 w 1716"/>
                  <a:gd name="T15" fmla="*/ 910 h 954"/>
                  <a:gd name="T16" fmla="*/ 728 w 1716"/>
                  <a:gd name="T17" fmla="*/ 567 h 954"/>
                  <a:gd name="T18" fmla="*/ 386 w 1716"/>
                  <a:gd name="T19" fmla="*/ 225 h 954"/>
                  <a:gd name="T20" fmla="*/ 1694 w 1716"/>
                  <a:gd name="T21" fmla="*/ 0 h 954"/>
                  <a:gd name="T22" fmla="*/ 1099 w 1716"/>
                  <a:gd name="T23" fmla="*/ 0 h 954"/>
                  <a:gd name="T24" fmla="*/ 1077 w 1716"/>
                  <a:gd name="T25" fmla="*/ 22 h 954"/>
                  <a:gd name="T26" fmla="*/ 1077 w 1716"/>
                  <a:gd name="T27" fmla="*/ 63 h 954"/>
                  <a:gd name="T28" fmla="*/ 984 w 1716"/>
                  <a:gd name="T29" fmla="*/ 63 h 954"/>
                  <a:gd name="T30" fmla="*/ 984 w 1716"/>
                  <a:gd name="T31" fmla="*/ 22 h 954"/>
                  <a:gd name="T32" fmla="*/ 962 w 1716"/>
                  <a:gd name="T33" fmla="*/ 0 h 954"/>
                  <a:gd name="T34" fmla="*/ 605 w 1716"/>
                  <a:gd name="T35" fmla="*/ 0 h 954"/>
                  <a:gd name="T36" fmla="*/ 994 w 1716"/>
                  <a:gd name="T37" fmla="*/ 547 h 954"/>
                  <a:gd name="T38" fmla="*/ 1697 w 1716"/>
                  <a:gd name="T39" fmla="*/ 473 h 954"/>
                  <a:gd name="T40" fmla="*/ 1716 w 1716"/>
                  <a:gd name="T41" fmla="*/ 451 h 954"/>
                  <a:gd name="T42" fmla="*/ 1716 w 1716"/>
                  <a:gd name="T43" fmla="*/ 22 h 954"/>
                  <a:gd name="T44" fmla="*/ 1694 w 1716"/>
                  <a:gd name="T45" fmla="*/ 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16" h="954">
                    <a:moveTo>
                      <a:pt x="386" y="954"/>
                    </a:moveTo>
                    <a:cubicBezTo>
                      <a:pt x="173" y="954"/>
                      <a:pt x="0" y="780"/>
                      <a:pt x="0" y="567"/>
                    </a:cubicBezTo>
                    <a:cubicBezTo>
                      <a:pt x="0" y="354"/>
                      <a:pt x="173" y="181"/>
                      <a:pt x="386" y="181"/>
                    </a:cubicBezTo>
                    <a:cubicBezTo>
                      <a:pt x="599" y="181"/>
                      <a:pt x="772" y="354"/>
                      <a:pt x="772" y="567"/>
                    </a:cubicBezTo>
                    <a:cubicBezTo>
                      <a:pt x="772" y="780"/>
                      <a:pt x="599" y="954"/>
                      <a:pt x="386" y="954"/>
                    </a:cubicBezTo>
                    <a:close/>
                    <a:moveTo>
                      <a:pt x="386" y="225"/>
                    </a:moveTo>
                    <a:cubicBezTo>
                      <a:pt x="197" y="225"/>
                      <a:pt x="44" y="379"/>
                      <a:pt x="44" y="567"/>
                    </a:cubicBezTo>
                    <a:cubicBezTo>
                      <a:pt x="44" y="756"/>
                      <a:pt x="197" y="910"/>
                      <a:pt x="386" y="910"/>
                    </a:cubicBezTo>
                    <a:cubicBezTo>
                      <a:pt x="575" y="910"/>
                      <a:pt x="728" y="756"/>
                      <a:pt x="728" y="567"/>
                    </a:cubicBezTo>
                    <a:cubicBezTo>
                      <a:pt x="728" y="379"/>
                      <a:pt x="575" y="225"/>
                      <a:pt x="386" y="225"/>
                    </a:cubicBezTo>
                    <a:close/>
                    <a:moveTo>
                      <a:pt x="1694" y="0"/>
                    </a:moveTo>
                    <a:cubicBezTo>
                      <a:pt x="1099" y="0"/>
                      <a:pt x="1099" y="0"/>
                      <a:pt x="1099" y="0"/>
                    </a:cubicBezTo>
                    <a:cubicBezTo>
                      <a:pt x="1087" y="0"/>
                      <a:pt x="1077" y="10"/>
                      <a:pt x="1077" y="22"/>
                    </a:cubicBezTo>
                    <a:cubicBezTo>
                      <a:pt x="1077" y="63"/>
                      <a:pt x="1077" y="63"/>
                      <a:pt x="1077" y="63"/>
                    </a:cubicBezTo>
                    <a:cubicBezTo>
                      <a:pt x="984" y="63"/>
                      <a:pt x="984" y="63"/>
                      <a:pt x="984" y="63"/>
                    </a:cubicBezTo>
                    <a:cubicBezTo>
                      <a:pt x="984" y="22"/>
                      <a:pt x="984" y="22"/>
                      <a:pt x="984" y="22"/>
                    </a:cubicBezTo>
                    <a:cubicBezTo>
                      <a:pt x="984" y="10"/>
                      <a:pt x="974" y="0"/>
                      <a:pt x="962" y="0"/>
                    </a:cubicBezTo>
                    <a:cubicBezTo>
                      <a:pt x="605" y="0"/>
                      <a:pt x="605" y="0"/>
                      <a:pt x="605" y="0"/>
                    </a:cubicBezTo>
                    <a:cubicBezTo>
                      <a:pt x="827" y="86"/>
                      <a:pt x="985" y="298"/>
                      <a:pt x="994" y="547"/>
                    </a:cubicBezTo>
                    <a:cubicBezTo>
                      <a:pt x="1697" y="473"/>
                      <a:pt x="1697" y="473"/>
                      <a:pt x="1697" y="473"/>
                    </a:cubicBezTo>
                    <a:cubicBezTo>
                      <a:pt x="1708" y="472"/>
                      <a:pt x="1716" y="462"/>
                      <a:pt x="1716" y="451"/>
                    </a:cubicBezTo>
                    <a:cubicBezTo>
                      <a:pt x="1716" y="22"/>
                      <a:pt x="1716" y="22"/>
                      <a:pt x="1716" y="22"/>
                    </a:cubicBezTo>
                    <a:cubicBezTo>
                      <a:pt x="1716" y="10"/>
                      <a:pt x="1707" y="0"/>
                      <a:pt x="169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2">
                <a:extLst>
                  <a:ext uri="{FF2B5EF4-FFF2-40B4-BE49-F238E27FC236}">
                    <a16:creationId xmlns="" xmlns:a16="http://schemas.microsoft.com/office/drawing/2014/main" id="{33C5DC17-EAD2-4B2F-8346-50669C7C4A5F}"/>
                  </a:ext>
                </a:extLst>
              </p:cNvPr>
              <p:cNvSpPr>
                <a:spLocks noEditPoints="1"/>
              </p:cNvSpPr>
              <p:nvPr/>
            </p:nvSpPr>
            <p:spPr bwMode="auto">
              <a:xfrm>
                <a:off x="5421630" y="2909697"/>
                <a:ext cx="1037844" cy="1037844"/>
              </a:xfrm>
              <a:custGeom>
                <a:avLst/>
                <a:gdLst>
                  <a:gd name="T0" fmla="*/ 564 w 1454"/>
                  <a:gd name="T1" fmla="*/ 1453 h 1453"/>
                  <a:gd name="T2" fmla="*/ 0 w 1454"/>
                  <a:gd name="T3" fmla="*/ 889 h 1453"/>
                  <a:gd name="T4" fmla="*/ 564 w 1454"/>
                  <a:gd name="T5" fmla="*/ 325 h 1453"/>
                  <a:gd name="T6" fmla="*/ 1128 w 1454"/>
                  <a:gd name="T7" fmla="*/ 889 h 1453"/>
                  <a:gd name="T8" fmla="*/ 564 w 1454"/>
                  <a:gd name="T9" fmla="*/ 1453 h 1453"/>
                  <a:gd name="T10" fmla="*/ 564 w 1454"/>
                  <a:gd name="T11" fmla="*/ 369 h 1453"/>
                  <a:gd name="T12" fmla="*/ 44 w 1454"/>
                  <a:gd name="T13" fmla="*/ 889 h 1453"/>
                  <a:gd name="T14" fmla="*/ 564 w 1454"/>
                  <a:gd name="T15" fmla="*/ 1409 h 1453"/>
                  <a:gd name="T16" fmla="*/ 1084 w 1454"/>
                  <a:gd name="T17" fmla="*/ 889 h 1453"/>
                  <a:gd name="T18" fmla="*/ 564 w 1454"/>
                  <a:gd name="T19" fmla="*/ 369 h 1453"/>
                  <a:gd name="T20" fmla="*/ 1231 w 1454"/>
                  <a:gd name="T21" fmla="*/ 226 h 1453"/>
                  <a:gd name="T22" fmla="*/ 1231 w 1454"/>
                  <a:gd name="T23" fmla="*/ 22 h 1453"/>
                  <a:gd name="T24" fmla="*/ 1209 w 1454"/>
                  <a:gd name="T25" fmla="*/ 0 h 1453"/>
                  <a:gd name="T26" fmla="*/ 1187 w 1454"/>
                  <a:gd name="T27" fmla="*/ 22 h 1453"/>
                  <a:gd name="T28" fmla="*/ 1187 w 1454"/>
                  <a:gd name="T29" fmla="*/ 226 h 1453"/>
                  <a:gd name="T30" fmla="*/ 1209 w 1454"/>
                  <a:gd name="T31" fmla="*/ 248 h 1453"/>
                  <a:gd name="T32" fmla="*/ 1231 w 1454"/>
                  <a:gd name="T33" fmla="*/ 226 h 1453"/>
                  <a:gd name="T34" fmla="*/ 1315 w 1454"/>
                  <a:gd name="T35" fmla="*/ 258 h 1453"/>
                  <a:gd name="T36" fmla="*/ 1446 w 1454"/>
                  <a:gd name="T37" fmla="*/ 102 h 1453"/>
                  <a:gd name="T38" fmla="*/ 1443 w 1454"/>
                  <a:gd name="T39" fmla="*/ 71 h 1453"/>
                  <a:gd name="T40" fmla="*/ 1412 w 1454"/>
                  <a:gd name="T41" fmla="*/ 74 h 1453"/>
                  <a:gd name="T42" fmla="*/ 1281 w 1454"/>
                  <a:gd name="T43" fmla="*/ 230 h 1453"/>
                  <a:gd name="T44" fmla="*/ 1284 w 1454"/>
                  <a:gd name="T45" fmla="*/ 261 h 1453"/>
                  <a:gd name="T46" fmla="*/ 1298 w 1454"/>
                  <a:gd name="T47" fmla="*/ 266 h 1453"/>
                  <a:gd name="T48" fmla="*/ 1315 w 1454"/>
                  <a:gd name="T49" fmla="*/ 258 h 1453"/>
                  <a:gd name="T50" fmla="*/ 1136 w 1454"/>
                  <a:gd name="T51" fmla="*/ 261 h 1453"/>
                  <a:gd name="T52" fmla="*/ 1138 w 1454"/>
                  <a:gd name="T53" fmla="*/ 230 h 1453"/>
                  <a:gd name="T54" fmla="*/ 1007 w 1454"/>
                  <a:gd name="T55" fmla="*/ 74 h 1453"/>
                  <a:gd name="T56" fmla="*/ 976 w 1454"/>
                  <a:gd name="T57" fmla="*/ 71 h 1453"/>
                  <a:gd name="T58" fmla="*/ 973 w 1454"/>
                  <a:gd name="T59" fmla="*/ 102 h 1453"/>
                  <a:gd name="T60" fmla="*/ 1105 w 1454"/>
                  <a:gd name="T61" fmla="*/ 258 h 1453"/>
                  <a:gd name="T62" fmla="*/ 1121 w 1454"/>
                  <a:gd name="T63" fmla="*/ 266 h 1453"/>
                  <a:gd name="T64" fmla="*/ 1136 w 1454"/>
                  <a:gd name="T65" fmla="*/ 261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54" h="1453">
                    <a:moveTo>
                      <a:pt x="564" y="1453"/>
                    </a:moveTo>
                    <a:cubicBezTo>
                      <a:pt x="253" y="1453"/>
                      <a:pt x="0" y="1200"/>
                      <a:pt x="0" y="889"/>
                    </a:cubicBezTo>
                    <a:cubicBezTo>
                      <a:pt x="0" y="578"/>
                      <a:pt x="253" y="325"/>
                      <a:pt x="564" y="325"/>
                    </a:cubicBezTo>
                    <a:cubicBezTo>
                      <a:pt x="875" y="325"/>
                      <a:pt x="1128" y="578"/>
                      <a:pt x="1128" y="889"/>
                    </a:cubicBezTo>
                    <a:cubicBezTo>
                      <a:pt x="1128" y="1200"/>
                      <a:pt x="875" y="1453"/>
                      <a:pt x="564" y="1453"/>
                    </a:cubicBezTo>
                    <a:close/>
                    <a:moveTo>
                      <a:pt x="564" y="369"/>
                    </a:moveTo>
                    <a:cubicBezTo>
                      <a:pt x="277" y="369"/>
                      <a:pt x="44" y="603"/>
                      <a:pt x="44" y="889"/>
                    </a:cubicBezTo>
                    <a:cubicBezTo>
                      <a:pt x="44" y="1176"/>
                      <a:pt x="277" y="1409"/>
                      <a:pt x="564" y="1409"/>
                    </a:cubicBezTo>
                    <a:cubicBezTo>
                      <a:pt x="851" y="1409"/>
                      <a:pt x="1084" y="1176"/>
                      <a:pt x="1084" y="889"/>
                    </a:cubicBezTo>
                    <a:cubicBezTo>
                      <a:pt x="1084" y="603"/>
                      <a:pt x="851" y="369"/>
                      <a:pt x="564" y="369"/>
                    </a:cubicBezTo>
                    <a:close/>
                    <a:moveTo>
                      <a:pt x="1231" y="226"/>
                    </a:moveTo>
                    <a:cubicBezTo>
                      <a:pt x="1231" y="22"/>
                      <a:pt x="1231" y="22"/>
                      <a:pt x="1231" y="22"/>
                    </a:cubicBezTo>
                    <a:cubicBezTo>
                      <a:pt x="1231" y="10"/>
                      <a:pt x="1221" y="0"/>
                      <a:pt x="1209" y="0"/>
                    </a:cubicBezTo>
                    <a:cubicBezTo>
                      <a:pt x="1196" y="0"/>
                      <a:pt x="1187" y="10"/>
                      <a:pt x="1187" y="22"/>
                    </a:cubicBezTo>
                    <a:cubicBezTo>
                      <a:pt x="1187" y="226"/>
                      <a:pt x="1187" y="226"/>
                      <a:pt x="1187" y="226"/>
                    </a:cubicBezTo>
                    <a:cubicBezTo>
                      <a:pt x="1187" y="238"/>
                      <a:pt x="1196" y="248"/>
                      <a:pt x="1209" y="248"/>
                    </a:cubicBezTo>
                    <a:cubicBezTo>
                      <a:pt x="1221" y="248"/>
                      <a:pt x="1231" y="238"/>
                      <a:pt x="1231" y="226"/>
                    </a:cubicBezTo>
                    <a:close/>
                    <a:moveTo>
                      <a:pt x="1315" y="258"/>
                    </a:moveTo>
                    <a:cubicBezTo>
                      <a:pt x="1446" y="102"/>
                      <a:pt x="1446" y="102"/>
                      <a:pt x="1446" y="102"/>
                    </a:cubicBezTo>
                    <a:cubicBezTo>
                      <a:pt x="1454" y="93"/>
                      <a:pt x="1453" y="79"/>
                      <a:pt x="1443" y="71"/>
                    </a:cubicBezTo>
                    <a:cubicBezTo>
                      <a:pt x="1434" y="63"/>
                      <a:pt x="1420" y="65"/>
                      <a:pt x="1412" y="74"/>
                    </a:cubicBezTo>
                    <a:cubicBezTo>
                      <a:pt x="1281" y="230"/>
                      <a:pt x="1281" y="230"/>
                      <a:pt x="1281" y="230"/>
                    </a:cubicBezTo>
                    <a:cubicBezTo>
                      <a:pt x="1273" y="239"/>
                      <a:pt x="1274" y="253"/>
                      <a:pt x="1284" y="261"/>
                    </a:cubicBezTo>
                    <a:cubicBezTo>
                      <a:pt x="1288" y="265"/>
                      <a:pt x="1293" y="266"/>
                      <a:pt x="1298" y="266"/>
                    </a:cubicBezTo>
                    <a:cubicBezTo>
                      <a:pt x="1304" y="266"/>
                      <a:pt x="1310" y="264"/>
                      <a:pt x="1315" y="258"/>
                    </a:cubicBezTo>
                    <a:close/>
                    <a:moveTo>
                      <a:pt x="1136" y="261"/>
                    </a:moveTo>
                    <a:cubicBezTo>
                      <a:pt x="1145" y="253"/>
                      <a:pt x="1146" y="239"/>
                      <a:pt x="1138" y="230"/>
                    </a:cubicBezTo>
                    <a:cubicBezTo>
                      <a:pt x="1007" y="74"/>
                      <a:pt x="1007" y="74"/>
                      <a:pt x="1007" y="74"/>
                    </a:cubicBezTo>
                    <a:cubicBezTo>
                      <a:pt x="999" y="65"/>
                      <a:pt x="985" y="63"/>
                      <a:pt x="976" y="71"/>
                    </a:cubicBezTo>
                    <a:cubicBezTo>
                      <a:pt x="967" y="79"/>
                      <a:pt x="966" y="93"/>
                      <a:pt x="973" y="102"/>
                    </a:cubicBezTo>
                    <a:cubicBezTo>
                      <a:pt x="1105" y="258"/>
                      <a:pt x="1105" y="258"/>
                      <a:pt x="1105" y="258"/>
                    </a:cubicBezTo>
                    <a:cubicBezTo>
                      <a:pt x="1109" y="264"/>
                      <a:pt x="1115" y="266"/>
                      <a:pt x="1121" y="266"/>
                    </a:cubicBezTo>
                    <a:cubicBezTo>
                      <a:pt x="1126" y="266"/>
                      <a:pt x="1131" y="265"/>
                      <a:pt x="1136" y="2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4" name="bcgIcons_ITTechnologyFunction">
            <a:extLst>
              <a:ext uri="{FF2B5EF4-FFF2-40B4-BE49-F238E27FC236}">
                <a16:creationId xmlns="" xmlns:a16="http://schemas.microsoft.com/office/drawing/2014/main" id="{498FB0A4-CDD3-4259-868C-68AB71DDFEDC}"/>
              </a:ext>
            </a:extLst>
          </p:cNvPr>
          <p:cNvGrpSpPr>
            <a:grpSpLocks noChangeAspect="1"/>
          </p:cNvGrpSpPr>
          <p:nvPr/>
        </p:nvGrpSpPr>
        <p:grpSpPr bwMode="auto">
          <a:xfrm>
            <a:off x="9364742" y="1716497"/>
            <a:ext cx="1072235" cy="1073229"/>
            <a:chOff x="1682" y="0"/>
            <a:chExt cx="4316" cy="4320"/>
          </a:xfrm>
        </p:grpSpPr>
        <p:sp>
          <p:nvSpPr>
            <p:cNvPr id="37" name="AutoShape 8">
              <a:extLst>
                <a:ext uri="{FF2B5EF4-FFF2-40B4-BE49-F238E27FC236}">
                  <a16:creationId xmlns="" xmlns:a16="http://schemas.microsoft.com/office/drawing/2014/main" id="{FAF376E8-D8FC-40E3-8B98-47D8F03B3E1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a:extLst>
                <a:ext uri="{FF2B5EF4-FFF2-40B4-BE49-F238E27FC236}">
                  <a16:creationId xmlns="" xmlns:a16="http://schemas.microsoft.com/office/drawing/2014/main" id="{FDC70090-D0C7-4CD9-AF68-66903F319F49}"/>
                </a:ext>
              </a:extLst>
            </p:cNvPr>
            <p:cNvSpPr>
              <a:spLocks noEditPoints="1"/>
            </p:cNvSpPr>
            <p:nvPr/>
          </p:nvSpPr>
          <p:spPr bwMode="auto">
            <a:xfrm>
              <a:off x="1862" y="936"/>
              <a:ext cx="3958" cy="2486"/>
            </a:xfrm>
            <a:custGeom>
              <a:avLst/>
              <a:gdLst>
                <a:gd name="T0" fmla="*/ 1821 w 2113"/>
                <a:gd name="T1" fmla="*/ 614 h 1326"/>
                <a:gd name="T2" fmla="*/ 1764 w 2113"/>
                <a:gd name="T3" fmla="*/ 663 h 1326"/>
                <a:gd name="T4" fmla="*/ 1358 w 2113"/>
                <a:gd name="T5" fmla="*/ 446 h 1326"/>
                <a:gd name="T6" fmla="*/ 1262 w 2113"/>
                <a:gd name="T7" fmla="*/ 657 h 1326"/>
                <a:gd name="T8" fmla="*/ 1231 w 2113"/>
                <a:gd name="T9" fmla="*/ 618 h 1326"/>
                <a:gd name="T10" fmla="*/ 1526 w 2113"/>
                <a:gd name="T11" fmla="*/ 194 h 1326"/>
                <a:gd name="T12" fmla="*/ 1822 w 2113"/>
                <a:gd name="T13" fmla="*/ 614 h 1326"/>
                <a:gd name="T14" fmla="*/ 2110 w 2113"/>
                <a:gd name="T15" fmla="*/ 1307 h 1326"/>
                <a:gd name="T16" fmla="*/ 1716 w 2113"/>
                <a:gd name="T17" fmla="*/ 1058 h 1326"/>
                <a:gd name="T18" fmla="*/ 1523 w 2113"/>
                <a:gd name="T19" fmla="*/ 1149 h 1326"/>
                <a:gd name="T20" fmla="*/ 1336 w 2113"/>
                <a:gd name="T21" fmla="*/ 1058 h 1326"/>
                <a:gd name="T22" fmla="*/ 1084 w 2113"/>
                <a:gd name="T23" fmla="*/ 1100 h 1326"/>
                <a:gd name="T24" fmla="*/ 956 w 2113"/>
                <a:gd name="T25" fmla="*/ 1326 h 1326"/>
                <a:gd name="T26" fmla="*/ 1262 w 2113"/>
                <a:gd name="T27" fmla="*/ 686 h 1326"/>
                <a:gd name="T28" fmla="*/ 1208 w 2113"/>
                <a:gd name="T29" fmla="*/ 666 h 1326"/>
                <a:gd name="T30" fmla="*/ 1355 w 2113"/>
                <a:gd name="T31" fmla="*/ 943 h 1326"/>
                <a:gd name="T32" fmla="*/ 1365 w 2113"/>
                <a:gd name="T33" fmla="*/ 1022 h 1326"/>
                <a:gd name="T34" fmla="*/ 1409 w 2113"/>
                <a:gd name="T35" fmla="*/ 1066 h 1326"/>
                <a:gd name="T36" fmla="*/ 1526 w 2113"/>
                <a:gd name="T37" fmla="*/ 1026 h 1326"/>
                <a:gd name="T38" fmla="*/ 1643 w 2113"/>
                <a:gd name="T39" fmla="*/ 1066 h 1326"/>
                <a:gd name="T40" fmla="*/ 1687 w 2113"/>
                <a:gd name="T41" fmla="*/ 1022 h 1326"/>
                <a:gd name="T42" fmla="*/ 1697 w 2113"/>
                <a:gd name="T43" fmla="*/ 943 h 1326"/>
                <a:gd name="T44" fmla="*/ 1843 w 2113"/>
                <a:gd name="T45" fmla="*/ 665 h 1326"/>
                <a:gd name="T46" fmla="*/ 1788 w 2113"/>
                <a:gd name="T47" fmla="*/ 688 h 1326"/>
                <a:gd name="T48" fmla="*/ 1759 w 2113"/>
                <a:gd name="T49" fmla="*/ 717 h 1326"/>
                <a:gd name="T50" fmla="*/ 1526 w 2113"/>
                <a:gd name="T51" fmla="*/ 982 h 1326"/>
                <a:gd name="T52" fmla="*/ 1293 w 2113"/>
                <a:gd name="T53" fmla="*/ 717 h 1326"/>
                <a:gd name="T54" fmla="*/ 1262 w 2113"/>
                <a:gd name="T55" fmla="*/ 686 h 1326"/>
                <a:gd name="T56" fmla="*/ 891 w 2113"/>
                <a:gd name="T57" fmla="*/ 922 h 1326"/>
                <a:gd name="T58" fmla="*/ 1274 w 2113"/>
                <a:gd name="T59" fmla="*/ 893 h 1326"/>
                <a:gd name="T60" fmla="*/ 869 w 2113"/>
                <a:gd name="T61" fmla="*/ 849 h 1326"/>
                <a:gd name="T62" fmla="*/ 847 w 2113"/>
                <a:gd name="T63" fmla="*/ 936 h 1326"/>
                <a:gd name="T64" fmla="*/ 904 w 2113"/>
                <a:gd name="T65" fmla="*/ 980 h 1326"/>
                <a:gd name="T66" fmla="*/ 708 w 2113"/>
                <a:gd name="T67" fmla="*/ 955 h 1326"/>
                <a:gd name="T68" fmla="*/ 720 w 2113"/>
                <a:gd name="T69" fmla="*/ 871 h 1326"/>
                <a:gd name="T70" fmla="*/ 44 w 2113"/>
                <a:gd name="T71" fmla="*/ 849 h 1326"/>
                <a:gd name="T72" fmla="*/ 1523 w 2113"/>
                <a:gd name="T73" fmla="*/ 44 h 1326"/>
                <a:gd name="T74" fmla="*/ 1526 w 2113"/>
                <a:gd name="T75" fmla="*/ 150 h 1326"/>
                <a:gd name="T76" fmla="*/ 1567 w 2113"/>
                <a:gd name="T77" fmla="*/ 22 h 1326"/>
                <a:gd name="T78" fmla="*/ 22 w 2113"/>
                <a:gd name="T79" fmla="*/ 0 h 1326"/>
                <a:gd name="T80" fmla="*/ 0 w 2113"/>
                <a:gd name="T81" fmla="*/ 871 h 1326"/>
                <a:gd name="T82" fmla="*/ 676 w 2113"/>
                <a:gd name="T83" fmla="*/ 893 h 1326"/>
                <a:gd name="T84" fmla="*/ 566 w 2113"/>
                <a:gd name="T85" fmla="*/ 982 h 1326"/>
                <a:gd name="T86" fmla="*/ 577 w 2113"/>
                <a:gd name="T87" fmla="*/ 1024 h 1326"/>
                <a:gd name="T88" fmla="*/ 1011 w 2113"/>
                <a:gd name="T89" fmla="*/ 1007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3" h="1326">
                  <a:moveTo>
                    <a:pt x="1822" y="614"/>
                  </a:moveTo>
                  <a:cubicBezTo>
                    <a:pt x="1821" y="614"/>
                    <a:pt x="1821" y="614"/>
                    <a:pt x="1821" y="614"/>
                  </a:cubicBezTo>
                  <a:cubicBezTo>
                    <a:pt x="1821" y="614"/>
                    <a:pt x="1816" y="630"/>
                    <a:pt x="1787" y="663"/>
                  </a:cubicBezTo>
                  <a:cubicBezTo>
                    <a:pt x="1787" y="663"/>
                    <a:pt x="1787" y="663"/>
                    <a:pt x="1764" y="663"/>
                  </a:cubicBezTo>
                  <a:cubicBezTo>
                    <a:pt x="1764" y="663"/>
                    <a:pt x="1764" y="651"/>
                    <a:pt x="1761" y="431"/>
                  </a:cubicBezTo>
                  <a:cubicBezTo>
                    <a:pt x="1727" y="608"/>
                    <a:pt x="1358" y="446"/>
                    <a:pt x="1358" y="446"/>
                  </a:cubicBezTo>
                  <a:cubicBezTo>
                    <a:pt x="1266" y="474"/>
                    <a:pt x="1282" y="659"/>
                    <a:pt x="1282" y="659"/>
                  </a:cubicBezTo>
                  <a:cubicBezTo>
                    <a:pt x="1282" y="659"/>
                    <a:pt x="1282" y="659"/>
                    <a:pt x="1262" y="657"/>
                  </a:cubicBezTo>
                  <a:cubicBezTo>
                    <a:pt x="1262" y="657"/>
                    <a:pt x="1262" y="645"/>
                    <a:pt x="1231" y="618"/>
                  </a:cubicBezTo>
                  <a:cubicBezTo>
                    <a:pt x="1231" y="618"/>
                    <a:pt x="1231" y="618"/>
                    <a:pt x="1231" y="618"/>
                  </a:cubicBezTo>
                  <a:cubicBezTo>
                    <a:pt x="1218" y="583"/>
                    <a:pt x="1219" y="546"/>
                    <a:pt x="1219" y="508"/>
                  </a:cubicBezTo>
                  <a:cubicBezTo>
                    <a:pt x="1219" y="334"/>
                    <a:pt x="1352" y="194"/>
                    <a:pt x="1526" y="194"/>
                  </a:cubicBezTo>
                  <a:cubicBezTo>
                    <a:pt x="1699" y="194"/>
                    <a:pt x="1832" y="334"/>
                    <a:pt x="1832" y="508"/>
                  </a:cubicBezTo>
                  <a:cubicBezTo>
                    <a:pt x="1832" y="545"/>
                    <a:pt x="1834" y="581"/>
                    <a:pt x="1822" y="614"/>
                  </a:cubicBezTo>
                  <a:close/>
                  <a:moveTo>
                    <a:pt x="2096" y="1326"/>
                  </a:moveTo>
                  <a:cubicBezTo>
                    <a:pt x="2106" y="1326"/>
                    <a:pt x="2113" y="1316"/>
                    <a:pt x="2110" y="1307"/>
                  </a:cubicBezTo>
                  <a:cubicBezTo>
                    <a:pt x="2092" y="1259"/>
                    <a:pt x="2040" y="1133"/>
                    <a:pt x="1968" y="1100"/>
                  </a:cubicBezTo>
                  <a:cubicBezTo>
                    <a:pt x="1879" y="1060"/>
                    <a:pt x="1716" y="1058"/>
                    <a:pt x="1716" y="1058"/>
                  </a:cubicBezTo>
                  <a:cubicBezTo>
                    <a:pt x="1716" y="1058"/>
                    <a:pt x="1716" y="1058"/>
                    <a:pt x="1716" y="1058"/>
                  </a:cubicBezTo>
                  <a:cubicBezTo>
                    <a:pt x="1716" y="1058"/>
                    <a:pt x="1651" y="1149"/>
                    <a:pt x="1523" y="1149"/>
                  </a:cubicBezTo>
                  <a:cubicBezTo>
                    <a:pt x="1529" y="1149"/>
                    <a:pt x="1529" y="1149"/>
                    <a:pt x="1529" y="1149"/>
                  </a:cubicBezTo>
                  <a:cubicBezTo>
                    <a:pt x="1401" y="1149"/>
                    <a:pt x="1336" y="1058"/>
                    <a:pt x="1336" y="1058"/>
                  </a:cubicBezTo>
                  <a:cubicBezTo>
                    <a:pt x="1336" y="1058"/>
                    <a:pt x="1336" y="1058"/>
                    <a:pt x="1336" y="1058"/>
                  </a:cubicBezTo>
                  <a:cubicBezTo>
                    <a:pt x="1336" y="1058"/>
                    <a:pt x="1172" y="1060"/>
                    <a:pt x="1084" y="1100"/>
                  </a:cubicBezTo>
                  <a:cubicBezTo>
                    <a:pt x="1012" y="1133"/>
                    <a:pt x="960" y="1259"/>
                    <a:pt x="942" y="1307"/>
                  </a:cubicBezTo>
                  <a:cubicBezTo>
                    <a:pt x="939" y="1316"/>
                    <a:pt x="946" y="1326"/>
                    <a:pt x="956" y="1326"/>
                  </a:cubicBezTo>
                  <a:lnTo>
                    <a:pt x="2096" y="1326"/>
                  </a:lnTo>
                  <a:close/>
                  <a:moveTo>
                    <a:pt x="1262" y="686"/>
                  </a:moveTo>
                  <a:cubicBezTo>
                    <a:pt x="1208" y="661"/>
                    <a:pt x="1208" y="661"/>
                    <a:pt x="1208" y="661"/>
                  </a:cubicBezTo>
                  <a:cubicBezTo>
                    <a:pt x="1208" y="663"/>
                    <a:pt x="1208" y="664"/>
                    <a:pt x="1208" y="666"/>
                  </a:cubicBezTo>
                  <a:cubicBezTo>
                    <a:pt x="1211" y="685"/>
                    <a:pt x="1222" y="719"/>
                    <a:pt x="1255" y="740"/>
                  </a:cubicBezTo>
                  <a:cubicBezTo>
                    <a:pt x="1274" y="789"/>
                    <a:pt x="1327" y="918"/>
                    <a:pt x="1355" y="943"/>
                  </a:cubicBezTo>
                  <a:cubicBezTo>
                    <a:pt x="1357" y="945"/>
                    <a:pt x="1361" y="948"/>
                    <a:pt x="1365" y="951"/>
                  </a:cubicBezTo>
                  <a:cubicBezTo>
                    <a:pt x="1365" y="1022"/>
                    <a:pt x="1365" y="1022"/>
                    <a:pt x="1365" y="1022"/>
                  </a:cubicBezTo>
                  <a:cubicBezTo>
                    <a:pt x="1372" y="1032"/>
                    <a:pt x="1372" y="1032"/>
                    <a:pt x="1372" y="1032"/>
                  </a:cubicBezTo>
                  <a:cubicBezTo>
                    <a:pt x="1372" y="1033"/>
                    <a:pt x="1385" y="1050"/>
                    <a:pt x="1409" y="1066"/>
                  </a:cubicBezTo>
                  <a:cubicBezTo>
                    <a:pt x="1409" y="981"/>
                    <a:pt x="1409" y="981"/>
                    <a:pt x="1409" y="981"/>
                  </a:cubicBezTo>
                  <a:cubicBezTo>
                    <a:pt x="1445" y="1004"/>
                    <a:pt x="1490" y="1026"/>
                    <a:pt x="1526" y="1026"/>
                  </a:cubicBezTo>
                  <a:cubicBezTo>
                    <a:pt x="1561" y="1026"/>
                    <a:pt x="1607" y="1004"/>
                    <a:pt x="1643" y="981"/>
                  </a:cubicBezTo>
                  <a:cubicBezTo>
                    <a:pt x="1643" y="1066"/>
                    <a:pt x="1643" y="1066"/>
                    <a:pt x="1643" y="1066"/>
                  </a:cubicBezTo>
                  <a:cubicBezTo>
                    <a:pt x="1667" y="1050"/>
                    <a:pt x="1679" y="1033"/>
                    <a:pt x="1680" y="1032"/>
                  </a:cubicBezTo>
                  <a:cubicBezTo>
                    <a:pt x="1687" y="1022"/>
                    <a:pt x="1687" y="1022"/>
                    <a:pt x="1687" y="1022"/>
                  </a:cubicBezTo>
                  <a:cubicBezTo>
                    <a:pt x="1687" y="951"/>
                    <a:pt x="1687" y="951"/>
                    <a:pt x="1687" y="951"/>
                  </a:cubicBezTo>
                  <a:cubicBezTo>
                    <a:pt x="1691" y="948"/>
                    <a:pt x="1694" y="945"/>
                    <a:pt x="1697" y="943"/>
                  </a:cubicBezTo>
                  <a:cubicBezTo>
                    <a:pt x="1725" y="918"/>
                    <a:pt x="1777" y="789"/>
                    <a:pt x="1797" y="740"/>
                  </a:cubicBezTo>
                  <a:cubicBezTo>
                    <a:pt x="1832" y="718"/>
                    <a:pt x="1841" y="680"/>
                    <a:pt x="1843" y="665"/>
                  </a:cubicBezTo>
                  <a:cubicBezTo>
                    <a:pt x="1843" y="664"/>
                    <a:pt x="1844" y="663"/>
                    <a:pt x="1844" y="662"/>
                  </a:cubicBezTo>
                  <a:cubicBezTo>
                    <a:pt x="1788" y="688"/>
                    <a:pt x="1788" y="688"/>
                    <a:pt x="1788" y="688"/>
                  </a:cubicBezTo>
                  <a:cubicBezTo>
                    <a:pt x="1784" y="695"/>
                    <a:pt x="1778" y="701"/>
                    <a:pt x="1769" y="705"/>
                  </a:cubicBezTo>
                  <a:cubicBezTo>
                    <a:pt x="1764" y="708"/>
                    <a:pt x="1761" y="712"/>
                    <a:pt x="1759" y="717"/>
                  </a:cubicBezTo>
                  <a:cubicBezTo>
                    <a:pt x="1726" y="799"/>
                    <a:pt x="1682" y="897"/>
                    <a:pt x="1667" y="910"/>
                  </a:cubicBezTo>
                  <a:cubicBezTo>
                    <a:pt x="1640" y="934"/>
                    <a:pt x="1565" y="982"/>
                    <a:pt x="1526" y="982"/>
                  </a:cubicBezTo>
                  <a:cubicBezTo>
                    <a:pt x="1486" y="982"/>
                    <a:pt x="1411" y="934"/>
                    <a:pt x="1384" y="910"/>
                  </a:cubicBezTo>
                  <a:cubicBezTo>
                    <a:pt x="1369" y="897"/>
                    <a:pt x="1325" y="799"/>
                    <a:pt x="1293" y="717"/>
                  </a:cubicBezTo>
                  <a:cubicBezTo>
                    <a:pt x="1291" y="712"/>
                    <a:pt x="1287" y="708"/>
                    <a:pt x="1282" y="705"/>
                  </a:cubicBezTo>
                  <a:cubicBezTo>
                    <a:pt x="1273" y="700"/>
                    <a:pt x="1266" y="694"/>
                    <a:pt x="1262" y="686"/>
                  </a:cubicBezTo>
                  <a:close/>
                  <a:moveTo>
                    <a:pt x="1000" y="982"/>
                  </a:moveTo>
                  <a:cubicBezTo>
                    <a:pt x="891" y="922"/>
                    <a:pt x="891" y="922"/>
                    <a:pt x="891" y="922"/>
                  </a:cubicBezTo>
                  <a:cubicBezTo>
                    <a:pt x="891" y="893"/>
                    <a:pt x="891" y="893"/>
                    <a:pt x="891" y="893"/>
                  </a:cubicBezTo>
                  <a:cubicBezTo>
                    <a:pt x="1274" y="893"/>
                    <a:pt x="1274" y="893"/>
                    <a:pt x="1274" y="893"/>
                  </a:cubicBezTo>
                  <a:cubicBezTo>
                    <a:pt x="1267" y="879"/>
                    <a:pt x="1260" y="865"/>
                    <a:pt x="1253" y="849"/>
                  </a:cubicBezTo>
                  <a:cubicBezTo>
                    <a:pt x="869" y="849"/>
                    <a:pt x="869" y="849"/>
                    <a:pt x="869" y="849"/>
                  </a:cubicBezTo>
                  <a:cubicBezTo>
                    <a:pt x="857" y="849"/>
                    <a:pt x="847" y="859"/>
                    <a:pt x="847" y="871"/>
                  </a:cubicBezTo>
                  <a:cubicBezTo>
                    <a:pt x="847" y="936"/>
                    <a:pt x="847" y="936"/>
                    <a:pt x="847" y="936"/>
                  </a:cubicBezTo>
                  <a:cubicBezTo>
                    <a:pt x="847" y="944"/>
                    <a:pt x="851" y="951"/>
                    <a:pt x="858" y="955"/>
                  </a:cubicBezTo>
                  <a:cubicBezTo>
                    <a:pt x="904" y="980"/>
                    <a:pt x="904" y="980"/>
                    <a:pt x="904" y="980"/>
                  </a:cubicBezTo>
                  <a:cubicBezTo>
                    <a:pt x="663" y="980"/>
                    <a:pt x="663" y="980"/>
                    <a:pt x="663" y="980"/>
                  </a:cubicBezTo>
                  <a:cubicBezTo>
                    <a:pt x="708" y="955"/>
                    <a:pt x="708" y="955"/>
                    <a:pt x="708" y="955"/>
                  </a:cubicBezTo>
                  <a:cubicBezTo>
                    <a:pt x="715" y="951"/>
                    <a:pt x="720" y="944"/>
                    <a:pt x="720" y="936"/>
                  </a:cubicBezTo>
                  <a:cubicBezTo>
                    <a:pt x="720" y="871"/>
                    <a:pt x="720" y="871"/>
                    <a:pt x="720" y="871"/>
                  </a:cubicBezTo>
                  <a:cubicBezTo>
                    <a:pt x="720" y="859"/>
                    <a:pt x="710" y="849"/>
                    <a:pt x="698" y="849"/>
                  </a:cubicBezTo>
                  <a:cubicBezTo>
                    <a:pt x="44" y="849"/>
                    <a:pt x="44" y="849"/>
                    <a:pt x="44" y="849"/>
                  </a:cubicBezTo>
                  <a:cubicBezTo>
                    <a:pt x="44" y="44"/>
                    <a:pt x="44" y="44"/>
                    <a:pt x="44" y="44"/>
                  </a:cubicBezTo>
                  <a:cubicBezTo>
                    <a:pt x="1523" y="44"/>
                    <a:pt x="1523" y="44"/>
                    <a:pt x="1523" y="44"/>
                  </a:cubicBezTo>
                  <a:cubicBezTo>
                    <a:pt x="1523" y="150"/>
                    <a:pt x="1523" y="150"/>
                    <a:pt x="1523" y="150"/>
                  </a:cubicBezTo>
                  <a:cubicBezTo>
                    <a:pt x="1524" y="150"/>
                    <a:pt x="1525" y="150"/>
                    <a:pt x="1526" y="150"/>
                  </a:cubicBezTo>
                  <a:cubicBezTo>
                    <a:pt x="1540" y="150"/>
                    <a:pt x="1553" y="150"/>
                    <a:pt x="1567" y="152"/>
                  </a:cubicBezTo>
                  <a:cubicBezTo>
                    <a:pt x="1567" y="22"/>
                    <a:pt x="1567" y="22"/>
                    <a:pt x="1567" y="22"/>
                  </a:cubicBezTo>
                  <a:cubicBezTo>
                    <a:pt x="1567" y="10"/>
                    <a:pt x="1557" y="0"/>
                    <a:pt x="1545" y="0"/>
                  </a:cubicBezTo>
                  <a:cubicBezTo>
                    <a:pt x="22" y="0"/>
                    <a:pt x="22" y="0"/>
                    <a:pt x="22" y="0"/>
                  </a:cubicBezTo>
                  <a:cubicBezTo>
                    <a:pt x="10" y="0"/>
                    <a:pt x="0" y="10"/>
                    <a:pt x="0" y="22"/>
                  </a:cubicBezTo>
                  <a:cubicBezTo>
                    <a:pt x="0" y="871"/>
                    <a:pt x="0" y="871"/>
                    <a:pt x="0" y="871"/>
                  </a:cubicBezTo>
                  <a:cubicBezTo>
                    <a:pt x="0" y="883"/>
                    <a:pt x="10" y="893"/>
                    <a:pt x="22" y="893"/>
                  </a:cubicBezTo>
                  <a:cubicBezTo>
                    <a:pt x="676" y="893"/>
                    <a:pt x="676" y="893"/>
                    <a:pt x="676" y="893"/>
                  </a:cubicBezTo>
                  <a:cubicBezTo>
                    <a:pt x="676" y="922"/>
                    <a:pt x="676" y="922"/>
                    <a:pt x="676" y="922"/>
                  </a:cubicBezTo>
                  <a:cubicBezTo>
                    <a:pt x="566" y="982"/>
                    <a:pt x="566" y="982"/>
                    <a:pt x="566" y="982"/>
                  </a:cubicBezTo>
                  <a:cubicBezTo>
                    <a:pt x="557" y="987"/>
                    <a:pt x="553" y="998"/>
                    <a:pt x="555" y="1007"/>
                  </a:cubicBezTo>
                  <a:cubicBezTo>
                    <a:pt x="558" y="1017"/>
                    <a:pt x="567" y="1024"/>
                    <a:pt x="577" y="1024"/>
                  </a:cubicBezTo>
                  <a:cubicBezTo>
                    <a:pt x="990" y="1024"/>
                    <a:pt x="990" y="1024"/>
                    <a:pt x="990" y="1024"/>
                  </a:cubicBezTo>
                  <a:cubicBezTo>
                    <a:pt x="1000" y="1024"/>
                    <a:pt x="1009" y="1017"/>
                    <a:pt x="1011" y="1007"/>
                  </a:cubicBezTo>
                  <a:cubicBezTo>
                    <a:pt x="1014" y="998"/>
                    <a:pt x="1009" y="987"/>
                    <a:pt x="1000" y="9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a:extLst>
                <a:ext uri="{FF2B5EF4-FFF2-40B4-BE49-F238E27FC236}">
                  <a16:creationId xmlns="" xmlns:a16="http://schemas.microsoft.com/office/drawing/2014/main" id="{83AB19B1-0D84-414A-9DE7-F15682FC7FC7}"/>
                </a:ext>
              </a:extLst>
            </p:cNvPr>
            <p:cNvSpPr>
              <a:spLocks noEditPoints="1"/>
            </p:cNvSpPr>
            <p:nvPr/>
          </p:nvSpPr>
          <p:spPr bwMode="auto">
            <a:xfrm>
              <a:off x="2025" y="1108"/>
              <a:ext cx="2609" cy="1329"/>
            </a:xfrm>
            <a:custGeom>
              <a:avLst/>
              <a:gdLst>
                <a:gd name="T0" fmla="*/ 896 w 1393"/>
                <a:gd name="T1" fmla="*/ 530 h 709"/>
                <a:gd name="T2" fmla="*/ 875 w 1393"/>
                <a:gd name="T3" fmla="*/ 530 h 709"/>
                <a:gd name="T4" fmla="*/ 730 w 1393"/>
                <a:gd name="T5" fmla="*/ 364 h 709"/>
                <a:gd name="T6" fmla="*/ 896 w 1393"/>
                <a:gd name="T7" fmla="*/ 509 h 709"/>
                <a:gd name="T8" fmla="*/ 685 w 1393"/>
                <a:gd name="T9" fmla="*/ 410 h 709"/>
                <a:gd name="T10" fmla="*/ 829 w 1393"/>
                <a:gd name="T11" fmla="*/ 575 h 709"/>
                <a:gd name="T12" fmla="*/ 850 w 1393"/>
                <a:gd name="T13" fmla="*/ 575 h 709"/>
                <a:gd name="T14" fmla="*/ 706 w 1393"/>
                <a:gd name="T15" fmla="*/ 410 h 709"/>
                <a:gd name="T16" fmla="*/ 1393 w 1393"/>
                <a:gd name="T17" fmla="*/ 61 h 709"/>
                <a:gd name="T18" fmla="*/ 1088 w 1393"/>
                <a:gd name="T19" fmla="*/ 416 h 709"/>
                <a:gd name="T20" fmla="*/ 1097 w 1393"/>
                <a:gd name="T21" fmla="*/ 526 h 709"/>
                <a:gd name="T22" fmla="*/ 1087 w 1393"/>
                <a:gd name="T23" fmla="*/ 543 h 709"/>
                <a:gd name="T24" fmla="*/ 1127 w 1393"/>
                <a:gd name="T25" fmla="*/ 664 h 709"/>
                <a:gd name="T26" fmla="*/ 10 w 1393"/>
                <a:gd name="T27" fmla="*/ 709 h 709"/>
                <a:gd name="T28" fmla="*/ 0 w 1393"/>
                <a:gd name="T29" fmla="*/ 10 h 709"/>
                <a:gd name="T30" fmla="*/ 1383 w 1393"/>
                <a:gd name="T31" fmla="*/ 0 h 709"/>
                <a:gd name="T32" fmla="*/ 632 w 1393"/>
                <a:gd name="T33" fmla="*/ 462 h 709"/>
                <a:gd name="T34" fmla="*/ 611 w 1393"/>
                <a:gd name="T35" fmla="*/ 437 h 709"/>
                <a:gd name="T36" fmla="*/ 579 w 1393"/>
                <a:gd name="T37" fmla="*/ 408 h 709"/>
                <a:gd name="T38" fmla="*/ 440 w 1393"/>
                <a:gd name="T39" fmla="*/ 530 h 709"/>
                <a:gd name="T40" fmla="*/ 502 w 1393"/>
                <a:gd name="T41" fmla="*/ 592 h 709"/>
                <a:gd name="T42" fmla="*/ 935 w 1393"/>
                <a:gd name="T43" fmla="*/ 507 h 709"/>
                <a:gd name="T44" fmla="*/ 741 w 1393"/>
                <a:gd name="T45" fmla="*/ 320 h 709"/>
                <a:gd name="T46" fmla="*/ 734 w 1393"/>
                <a:gd name="T47" fmla="*/ 315 h 709"/>
                <a:gd name="T48" fmla="*/ 707 w 1393"/>
                <a:gd name="T49" fmla="*/ 279 h 709"/>
                <a:gd name="T50" fmla="*/ 655 w 1393"/>
                <a:gd name="T51" fmla="*/ 301 h 709"/>
                <a:gd name="T52" fmla="*/ 465 w 1393"/>
                <a:gd name="T53" fmla="*/ 113 h 709"/>
                <a:gd name="T54" fmla="*/ 401 w 1393"/>
                <a:gd name="T55" fmla="*/ 56 h 709"/>
                <a:gd name="T56" fmla="*/ 389 w 1393"/>
                <a:gd name="T57" fmla="*/ 68 h 709"/>
                <a:gd name="T58" fmla="*/ 407 w 1393"/>
                <a:gd name="T59" fmla="*/ 141 h 709"/>
                <a:gd name="T60" fmla="*/ 618 w 1393"/>
                <a:gd name="T61" fmla="*/ 333 h 709"/>
                <a:gd name="T62" fmla="*/ 600 w 1393"/>
                <a:gd name="T63" fmla="*/ 356 h 709"/>
                <a:gd name="T64" fmla="*/ 620 w 1393"/>
                <a:gd name="T65" fmla="*/ 407 h 709"/>
                <a:gd name="T66" fmla="*/ 639 w 1393"/>
                <a:gd name="T67" fmla="*/ 413 h 709"/>
                <a:gd name="T68" fmla="*/ 644 w 1393"/>
                <a:gd name="T69" fmla="*/ 431 h 709"/>
                <a:gd name="T70" fmla="*/ 847 w 1393"/>
                <a:gd name="T71" fmla="*/ 622 h 709"/>
                <a:gd name="T72" fmla="*/ 935 w 1393"/>
                <a:gd name="T73" fmla="*/ 507 h 709"/>
                <a:gd name="T74" fmla="*/ 917 w 1393"/>
                <a:gd name="T75" fmla="*/ 181 h 709"/>
                <a:gd name="T76" fmla="*/ 826 w 1393"/>
                <a:gd name="T77" fmla="*/ 205 h 709"/>
                <a:gd name="T78" fmla="*/ 851 w 1393"/>
                <a:gd name="T79" fmla="*/ 114 h 709"/>
                <a:gd name="T80" fmla="*/ 778 w 1393"/>
                <a:gd name="T81" fmla="*/ 91 h 709"/>
                <a:gd name="T82" fmla="*/ 719 w 1393"/>
                <a:gd name="T83" fmla="*/ 250 h 709"/>
                <a:gd name="T84" fmla="*/ 728 w 1393"/>
                <a:gd name="T85" fmla="*/ 258 h 709"/>
                <a:gd name="T86" fmla="*/ 757 w 1393"/>
                <a:gd name="T87" fmla="*/ 290 h 709"/>
                <a:gd name="T88" fmla="*/ 782 w 1393"/>
                <a:gd name="T89" fmla="*/ 312 h 709"/>
                <a:gd name="T90" fmla="*/ 816 w 1393"/>
                <a:gd name="T91" fmla="*/ 278 h 709"/>
                <a:gd name="T92" fmla="*/ 967 w 1393"/>
                <a:gd name="T93" fmla="*/ 13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3" h="709">
                  <a:moveTo>
                    <a:pt x="896" y="509"/>
                  </a:moveTo>
                  <a:cubicBezTo>
                    <a:pt x="902" y="515"/>
                    <a:pt x="902" y="524"/>
                    <a:pt x="896" y="530"/>
                  </a:cubicBezTo>
                  <a:cubicBezTo>
                    <a:pt x="893" y="533"/>
                    <a:pt x="889" y="534"/>
                    <a:pt x="885" y="534"/>
                  </a:cubicBezTo>
                  <a:cubicBezTo>
                    <a:pt x="881" y="534"/>
                    <a:pt x="878" y="533"/>
                    <a:pt x="875" y="530"/>
                  </a:cubicBezTo>
                  <a:cubicBezTo>
                    <a:pt x="730" y="385"/>
                    <a:pt x="730" y="385"/>
                    <a:pt x="730" y="385"/>
                  </a:cubicBezTo>
                  <a:cubicBezTo>
                    <a:pt x="724" y="380"/>
                    <a:pt x="724" y="370"/>
                    <a:pt x="730" y="364"/>
                  </a:cubicBezTo>
                  <a:cubicBezTo>
                    <a:pt x="736" y="358"/>
                    <a:pt x="745" y="358"/>
                    <a:pt x="751" y="364"/>
                  </a:cubicBezTo>
                  <a:lnTo>
                    <a:pt x="896" y="509"/>
                  </a:lnTo>
                  <a:close/>
                  <a:moveTo>
                    <a:pt x="706" y="410"/>
                  </a:moveTo>
                  <a:cubicBezTo>
                    <a:pt x="700" y="404"/>
                    <a:pt x="690" y="404"/>
                    <a:pt x="685" y="410"/>
                  </a:cubicBezTo>
                  <a:cubicBezTo>
                    <a:pt x="679" y="416"/>
                    <a:pt x="679" y="425"/>
                    <a:pt x="685" y="431"/>
                  </a:cubicBezTo>
                  <a:cubicBezTo>
                    <a:pt x="829" y="575"/>
                    <a:pt x="829" y="575"/>
                    <a:pt x="829" y="575"/>
                  </a:cubicBezTo>
                  <a:cubicBezTo>
                    <a:pt x="832" y="578"/>
                    <a:pt x="836" y="580"/>
                    <a:pt x="840" y="580"/>
                  </a:cubicBezTo>
                  <a:cubicBezTo>
                    <a:pt x="843" y="580"/>
                    <a:pt x="847" y="578"/>
                    <a:pt x="850" y="575"/>
                  </a:cubicBezTo>
                  <a:cubicBezTo>
                    <a:pt x="856" y="570"/>
                    <a:pt x="856" y="560"/>
                    <a:pt x="850" y="554"/>
                  </a:cubicBezTo>
                  <a:lnTo>
                    <a:pt x="706" y="410"/>
                  </a:lnTo>
                  <a:close/>
                  <a:moveTo>
                    <a:pt x="1393" y="10"/>
                  </a:moveTo>
                  <a:cubicBezTo>
                    <a:pt x="1393" y="61"/>
                    <a:pt x="1393" y="61"/>
                    <a:pt x="1393" y="61"/>
                  </a:cubicBezTo>
                  <a:cubicBezTo>
                    <a:pt x="1315" y="71"/>
                    <a:pt x="1244" y="106"/>
                    <a:pt x="1189" y="163"/>
                  </a:cubicBezTo>
                  <a:cubicBezTo>
                    <a:pt x="1124" y="230"/>
                    <a:pt x="1088" y="320"/>
                    <a:pt x="1088" y="416"/>
                  </a:cubicBezTo>
                  <a:cubicBezTo>
                    <a:pt x="1088" y="424"/>
                    <a:pt x="1088" y="424"/>
                    <a:pt x="1088" y="424"/>
                  </a:cubicBezTo>
                  <a:cubicBezTo>
                    <a:pt x="1088" y="461"/>
                    <a:pt x="1087" y="486"/>
                    <a:pt x="1097" y="526"/>
                  </a:cubicBezTo>
                  <a:cubicBezTo>
                    <a:pt x="1098" y="529"/>
                    <a:pt x="1097" y="533"/>
                    <a:pt x="1096" y="535"/>
                  </a:cubicBezTo>
                  <a:cubicBezTo>
                    <a:pt x="1095" y="539"/>
                    <a:pt x="1091" y="542"/>
                    <a:pt x="1087" y="543"/>
                  </a:cubicBezTo>
                  <a:cubicBezTo>
                    <a:pt x="1078" y="547"/>
                    <a:pt x="1071" y="557"/>
                    <a:pt x="1073" y="567"/>
                  </a:cubicBezTo>
                  <a:cubicBezTo>
                    <a:pt x="1079" y="607"/>
                    <a:pt x="1098" y="641"/>
                    <a:pt x="1127" y="664"/>
                  </a:cubicBezTo>
                  <a:cubicBezTo>
                    <a:pt x="1133" y="680"/>
                    <a:pt x="1139" y="695"/>
                    <a:pt x="1145" y="709"/>
                  </a:cubicBezTo>
                  <a:cubicBezTo>
                    <a:pt x="10" y="709"/>
                    <a:pt x="10" y="709"/>
                    <a:pt x="10" y="709"/>
                  </a:cubicBezTo>
                  <a:cubicBezTo>
                    <a:pt x="4" y="709"/>
                    <a:pt x="0" y="705"/>
                    <a:pt x="0" y="699"/>
                  </a:cubicBezTo>
                  <a:cubicBezTo>
                    <a:pt x="0" y="10"/>
                    <a:pt x="0" y="10"/>
                    <a:pt x="0" y="10"/>
                  </a:cubicBezTo>
                  <a:cubicBezTo>
                    <a:pt x="0" y="5"/>
                    <a:pt x="4" y="0"/>
                    <a:pt x="10" y="0"/>
                  </a:cubicBezTo>
                  <a:cubicBezTo>
                    <a:pt x="1383" y="0"/>
                    <a:pt x="1383" y="0"/>
                    <a:pt x="1383" y="0"/>
                  </a:cubicBezTo>
                  <a:cubicBezTo>
                    <a:pt x="1388" y="0"/>
                    <a:pt x="1393" y="5"/>
                    <a:pt x="1393" y="10"/>
                  </a:cubicBezTo>
                  <a:close/>
                  <a:moveTo>
                    <a:pt x="632" y="462"/>
                  </a:moveTo>
                  <a:cubicBezTo>
                    <a:pt x="615" y="444"/>
                    <a:pt x="615" y="444"/>
                    <a:pt x="615" y="444"/>
                  </a:cubicBezTo>
                  <a:cubicBezTo>
                    <a:pt x="613" y="442"/>
                    <a:pt x="611" y="440"/>
                    <a:pt x="611" y="437"/>
                  </a:cubicBezTo>
                  <a:cubicBezTo>
                    <a:pt x="606" y="435"/>
                    <a:pt x="602" y="432"/>
                    <a:pt x="599" y="428"/>
                  </a:cubicBezTo>
                  <a:cubicBezTo>
                    <a:pt x="579" y="408"/>
                    <a:pt x="579" y="408"/>
                    <a:pt x="579" y="408"/>
                  </a:cubicBezTo>
                  <a:cubicBezTo>
                    <a:pt x="576" y="405"/>
                    <a:pt x="573" y="402"/>
                    <a:pt x="571" y="398"/>
                  </a:cubicBezTo>
                  <a:cubicBezTo>
                    <a:pt x="440" y="530"/>
                    <a:pt x="440" y="530"/>
                    <a:pt x="440" y="530"/>
                  </a:cubicBezTo>
                  <a:cubicBezTo>
                    <a:pt x="421" y="548"/>
                    <a:pt x="421" y="576"/>
                    <a:pt x="438" y="594"/>
                  </a:cubicBezTo>
                  <a:cubicBezTo>
                    <a:pt x="455" y="611"/>
                    <a:pt x="484" y="610"/>
                    <a:pt x="502" y="592"/>
                  </a:cubicBezTo>
                  <a:lnTo>
                    <a:pt x="632" y="462"/>
                  </a:lnTo>
                  <a:close/>
                  <a:moveTo>
                    <a:pt x="935" y="507"/>
                  </a:moveTo>
                  <a:cubicBezTo>
                    <a:pt x="752" y="324"/>
                    <a:pt x="752" y="324"/>
                    <a:pt x="752" y="324"/>
                  </a:cubicBezTo>
                  <a:cubicBezTo>
                    <a:pt x="749" y="321"/>
                    <a:pt x="745" y="320"/>
                    <a:pt x="741" y="320"/>
                  </a:cubicBezTo>
                  <a:cubicBezTo>
                    <a:pt x="733" y="320"/>
                    <a:pt x="733" y="320"/>
                    <a:pt x="733" y="320"/>
                  </a:cubicBezTo>
                  <a:cubicBezTo>
                    <a:pt x="733" y="318"/>
                    <a:pt x="734" y="317"/>
                    <a:pt x="734" y="315"/>
                  </a:cubicBezTo>
                  <a:cubicBezTo>
                    <a:pt x="734" y="309"/>
                    <a:pt x="731" y="304"/>
                    <a:pt x="727" y="300"/>
                  </a:cubicBezTo>
                  <a:cubicBezTo>
                    <a:pt x="707" y="279"/>
                    <a:pt x="707" y="279"/>
                    <a:pt x="707" y="279"/>
                  </a:cubicBezTo>
                  <a:cubicBezTo>
                    <a:pt x="698" y="271"/>
                    <a:pt x="685" y="271"/>
                    <a:pt x="676" y="279"/>
                  </a:cubicBezTo>
                  <a:cubicBezTo>
                    <a:pt x="655" y="301"/>
                    <a:pt x="655" y="301"/>
                    <a:pt x="655" y="301"/>
                  </a:cubicBezTo>
                  <a:cubicBezTo>
                    <a:pt x="654" y="301"/>
                    <a:pt x="654" y="300"/>
                    <a:pt x="653" y="300"/>
                  </a:cubicBezTo>
                  <a:cubicBezTo>
                    <a:pt x="465" y="113"/>
                    <a:pt x="465" y="113"/>
                    <a:pt x="465" y="113"/>
                  </a:cubicBezTo>
                  <a:cubicBezTo>
                    <a:pt x="462" y="87"/>
                    <a:pt x="462" y="87"/>
                    <a:pt x="462" y="87"/>
                  </a:cubicBezTo>
                  <a:cubicBezTo>
                    <a:pt x="401" y="56"/>
                    <a:pt x="401" y="56"/>
                    <a:pt x="401" y="56"/>
                  </a:cubicBezTo>
                  <a:cubicBezTo>
                    <a:pt x="389" y="68"/>
                    <a:pt x="389" y="68"/>
                    <a:pt x="389" y="68"/>
                  </a:cubicBezTo>
                  <a:cubicBezTo>
                    <a:pt x="389" y="68"/>
                    <a:pt x="389" y="68"/>
                    <a:pt x="389" y="68"/>
                  </a:cubicBezTo>
                  <a:cubicBezTo>
                    <a:pt x="377" y="80"/>
                    <a:pt x="377" y="80"/>
                    <a:pt x="377" y="80"/>
                  </a:cubicBezTo>
                  <a:cubicBezTo>
                    <a:pt x="407" y="141"/>
                    <a:pt x="407" y="141"/>
                    <a:pt x="407" y="141"/>
                  </a:cubicBezTo>
                  <a:cubicBezTo>
                    <a:pt x="430" y="145"/>
                    <a:pt x="430" y="145"/>
                    <a:pt x="430" y="145"/>
                  </a:cubicBezTo>
                  <a:cubicBezTo>
                    <a:pt x="618" y="333"/>
                    <a:pt x="618" y="333"/>
                    <a:pt x="618" y="333"/>
                  </a:cubicBezTo>
                  <a:cubicBezTo>
                    <a:pt x="619" y="334"/>
                    <a:pt x="620" y="334"/>
                    <a:pt x="621" y="335"/>
                  </a:cubicBezTo>
                  <a:cubicBezTo>
                    <a:pt x="600" y="356"/>
                    <a:pt x="600" y="356"/>
                    <a:pt x="600" y="356"/>
                  </a:cubicBezTo>
                  <a:cubicBezTo>
                    <a:pt x="591" y="364"/>
                    <a:pt x="591" y="378"/>
                    <a:pt x="600" y="387"/>
                  </a:cubicBezTo>
                  <a:cubicBezTo>
                    <a:pt x="620" y="407"/>
                    <a:pt x="620" y="407"/>
                    <a:pt x="620" y="407"/>
                  </a:cubicBezTo>
                  <a:cubicBezTo>
                    <a:pt x="624" y="411"/>
                    <a:pt x="630" y="413"/>
                    <a:pt x="635" y="413"/>
                  </a:cubicBezTo>
                  <a:cubicBezTo>
                    <a:pt x="637" y="413"/>
                    <a:pt x="638" y="413"/>
                    <a:pt x="639" y="413"/>
                  </a:cubicBezTo>
                  <a:cubicBezTo>
                    <a:pt x="640" y="421"/>
                    <a:pt x="640" y="421"/>
                    <a:pt x="640" y="421"/>
                  </a:cubicBezTo>
                  <a:cubicBezTo>
                    <a:pt x="640" y="425"/>
                    <a:pt x="641" y="428"/>
                    <a:pt x="644" y="431"/>
                  </a:cubicBezTo>
                  <a:cubicBezTo>
                    <a:pt x="828" y="615"/>
                    <a:pt x="828" y="615"/>
                    <a:pt x="828" y="615"/>
                  </a:cubicBezTo>
                  <a:cubicBezTo>
                    <a:pt x="833" y="620"/>
                    <a:pt x="840" y="622"/>
                    <a:pt x="847" y="622"/>
                  </a:cubicBezTo>
                  <a:cubicBezTo>
                    <a:pt x="866" y="622"/>
                    <a:pt x="890" y="607"/>
                    <a:pt x="909" y="588"/>
                  </a:cubicBezTo>
                  <a:cubicBezTo>
                    <a:pt x="935" y="563"/>
                    <a:pt x="954" y="526"/>
                    <a:pt x="935" y="507"/>
                  </a:cubicBezTo>
                  <a:close/>
                  <a:moveTo>
                    <a:pt x="967" y="131"/>
                  </a:moveTo>
                  <a:cubicBezTo>
                    <a:pt x="917" y="181"/>
                    <a:pt x="917" y="181"/>
                    <a:pt x="917" y="181"/>
                  </a:cubicBezTo>
                  <a:cubicBezTo>
                    <a:pt x="879" y="220"/>
                    <a:pt x="879" y="220"/>
                    <a:pt x="879" y="220"/>
                  </a:cubicBezTo>
                  <a:cubicBezTo>
                    <a:pt x="826" y="205"/>
                    <a:pt x="826" y="205"/>
                    <a:pt x="826" y="205"/>
                  </a:cubicBezTo>
                  <a:cubicBezTo>
                    <a:pt x="812" y="153"/>
                    <a:pt x="812" y="153"/>
                    <a:pt x="812" y="153"/>
                  </a:cubicBezTo>
                  <a:cubicBezTo>
                    <a:pt x="851" y="114"/>
                    <a:pt x="851" y="114"/>
                    <a:pt x="851" y="114"/>
                  </a:cubicBezTo>
                  <a:cubicBezTo>
                    <a:pt x="900" y="65"/>
                    <a:pt x="900" y="65"/>
                    <a:pt x="900" y="65"/>
                  </a:cubicBezTo>
                  <a:cubicBezTo>
                    <a:pt x="859" y="49"/>
                    <a:pt x="811" y="58"/>
                    <a:pt x="778" y="91"/>
                  </a:cubicBezTo>
                  <a:cubicBezTo>
                    <a:pt x="744" y="125"/>
                    <a:pt x="736" y="174"/>
                    <a:pt x="753" y="216"/>
                  </a:cubicBezTo>
                  <a:cubicBezTo>
                    <a:pt x="719" y="250"/>
                    <a:pt x="719" y="250"/>
                    <a:pt x="719" y="250"/>
                  </a:cubicBezTo>
                  <a:cubicBezTo>
                    <a:pt x="718" y="251"/>
                    <a:pt x="718" y="251"/>
                    <a:pt x="718" y="251"/>
                  </a:cubicBezTo>
                  <a:cubicBezTo>
                    <a:pt x="722" y="253"/>
                    <a:pt x="725" y="255"/>
                    <a:pt x="728" y="258"/>
                  </a:cubicBezTo>
                  <a:cubicBezTo>
                    <a:pt x="748" y="278"/>
                    <a:pt x="748" y="278"/>
                    <a:pt x="748" y="278"/>
                  </a:cubicBezTo>
                  <a:cubicBezTo>
                    <a:pt x="752" y="282"/>
                    <a:pt x="755" y="286"/>
                    <a:pt x="757" y="290"/>
                  </a:cubicBezTo>
                  <a:cubicBezTo>
                    <a:pt x="760" y="291"/>
                    <a:pt x="762" y="292"/>
                    <a:pt x="764" y="294"/>
                  </a:cubicBezTo>
                  <a:cubicBezTo>
                    <a:pt x="782" y="312"/>
                    <a:pt x="782" y="312"/>
                    <a:pt x="782" y="312"/>
                  </a:cubicBezTo>
                  <a:cubicBezTo>
                    <a:pt x="783" y="311"/>
                    <a:pt x="783" y="311"/>
                    <a:pt x="783" y="311"/>
                  </a:cubicBezTo>
                  <a:cubicBezTo>
                    <a:pt x="816" y="278"/>
                    <a:pt x="816" y="278"/>
                    <a:pt x="816" y="278"/>
                  </a:cubicBezTo>
                  <a:cubicBezTo>
                    <a:pt x="857" y="295"/>
                    <a:pt x="907" y="287"/>
                    <a:pt x="941" y="253"/>
                  </a:cubicBezTo>
                  <a:cubicBezTo>
                    <a:pt x="974" y="220"/>
                    <a:pt x="982" y="172"/>
                    <a:pt x="967" y="13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419623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Over the next three months we will cover a variety of topics in addition to status updates and code reviews</a:t>
            </a:r>
            <a:endParaRPr lang="en-US" dirty="0"/>
          </a:p>
        </p:txBody>
      </p:sp>
      <p:sp>
        <p:nvSpPr>
          <p:cNvPr id="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4" name="NavigationIcon"/>
          <p:cNvGrpSpPr>
            <a:grpSpLocks noChangeAspect="1"/>
          </p:cNvGrpSpPr>
          <p:nvPr/>
        </p:nvGrpSpPr>
        <p:grpSpPr>
          <a:xfrm>
            <a:off x="11666125" y="132877"/>
            <a:ext cx="414598" cy="365760"/>
            <a:chOff x="5555742" y="2894076"/>
            <a:chExt cx="1216152" cy="1072896"/>
          </a:xfrm>
        </p:grpSpPr>
        <p:sp>
          <p:nvSpPr>
            <p:cNvPr id="5" name="Freeform 25">
              <a:extLst>
                <a:ext uri="{FF2B5EF4-FFF2-40B4-BE49-F238E27FC236}">
                  <a16:creationId xmlns:a16="http://schemas.microsoft.com/office/drawing/2014/main" xmlns="" id="{FA0FD38E-7CA9-4ECE-9013-798D4E40C551}"/>
                </a:ext>
              </a:extLst>
            </p:cNvPr>
            <p:cNvSpPr>
              <a:spLocks noEditPoints="1"/>
            </p:cNvSpPr>
            <p:nvPr/>
          </p:nvSpPr>
          <p:spPr bwMode="auto">
            <a:xfrm>
              <a:off x="6073902" y="2925318"/>
              <a:ext cx="697992" cy="52082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6" name="Freeform 26">
              <a:extLst>
                <a:ext uri="{FF2B5EF4-FFF2-40B4-BE49-F238E27FC236}">
                  <a16:creationId xmlns:a16="http://schemas.microsoft.com/office/drawing/2014/main" xmlns="" id="{F562C458-32E3-43E7-BAF7-B4773D3C4A71}"/>
                </a:ext>
              </a:extLst>
            </p:cNvPr>
            <p:cNvSpPr>
              <a:spLocks noEditPoints="1"/>
            </p:cNvSpPr>
            <p:nvPr/>
          </p:nvSpPr>
          <p:spPr bwMode="auto">
            <a:xfrm>
              <a:off x="5555742" y="2894076"/>
              <a:ext cx="1072134" cy="107289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cxnSp>
        <p:nvCxnSpPr>
          <p:cNvPr id="75" name="Straight Connector 74"/>
          <p:cNvCxnSpPr/>
          <p:nvPr/>
        </p:nvCxnSpPr>
        <p:spPr>
          <a:xfrm>
            <a:off x="446860" y="3717134"/>
            <a:ext cx="1414021" cy="0"/>
          </a:xfrm>
          <a:prstGeom prst="line">
            <a:avLst/>
          </a:prstGeom>
          <a:ln w="25400"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032264"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Sandbox creation and ERDs</a:t>
            </a:r>
            <a:r>
              <a:rPr lang="en-US" sz="1400" baseline="30000" dirty="0" smtClean="0">
                <a:solidFill>
                  <a:srgbClr val="575757"/>
                </a:solidFill>
              </a:rPr>
              <a:t>1</a:t>
            </a:r>
          </a:p>
        </p:txBody>
      </p:sp>
      <p:sp>
        <p:nvSpPr>
          <p:cNvPr id="36" name="TextBox 35"/>
          <p:cNvSpPr txBox="1"/>
          <p:nvPr/>
        </p:nvSpPr>
        <p:spPr>
          <a:xfrm>
            <a:off x="5182518"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Data engineering processes and flows</a:t>
            </a:r>
          </a:p>
        </p:txBody>
      </p:sp>
      <p:sp>
        <p:nvSpPr>
          <p:cNvPr id="38" name="TextBox 37"/>
          <p:cNvSpPr txBox="1"/>
          <p:nvPr/>
        </p:nvSpPr>
        <p:spPr>
          <a:xfrm>
            <a:off x="6767922"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Identifying candidate models  and testing </a:t>
            </a:r>
          </a:p>
        </p:txBody>
      </p:sp>
      <p:sp>
        <p:nvSpPr>
          <p:cNvPr id="39" name="TextBox 38"/>
          <p:cNvSpPr txBox="1"/>
          <p:nvPr/>
        </p:nvSpPr>
        <p:spPr>
          <a:xfrm>
            <a:off x="8353326"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V</a:t>
            </a:r>
            <a:r>
              <a:rPr lang="en-US" sz="1400" dirty="0" smtClean="0">
                <a:solidFill>
                  <a:srgbClr val="575757"/>
                </a:solidFill>
              </a:rPr>
              <a:t>alidation and selection of </a:t>
            </a:r>
            <a:r>
              <a:rPr lang="en-US" sz="1400" dirty="0" smtClean="0">
                <a:solidFill>
                  <a:srgbClr val="575757"/>
                </a:solidFill>
              </a:rPr>
              <a:t>models</a:t>
            </a:r>
            <a:endParaRPr lang="en-US" sz="1400" dirty="0" smtClean="0">
              <a:solidFill>
                <a:srgbClr val="575757"/>
              </a:solidFill>
            </a:endParaRPr>
          </a:p>
        </p:txBody>
      </p:sp>
      <p:sp>
        <p:nvSpPr>
          <p:cNvPr id="40" name="TextBox 39"/>
          <p:cNvSpPr txBox="1"/>
          <p:nvPr/>
        </p:nvSpPr>
        <p:spPr>
          <a:xfrm>
            <a:off x="9938730"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Creating production systems for </a:t>
            </a:r>
            <a:r>
              <a:rPr lang="en-US" sz="1400" dirty="0" smtClean="0">
                <a:solidFill>
                  <a:srgbClr val="575757"/>
                </a:solidFill>
              </a:rPr>
              <a:t>models</a:t>
            </a:r>
            <a:endParaRPr lang="en-US" sz="1400" dirty="0" smtClean="0">
              <a:solidFill>
                <a:srgbClr val="575757"/>
              </a:solidFill>
            </a:endParaRPr>
          </a:p>
        </p:txBody>
      </p:sp>
      <p:sp>
        <p:nvSpPr>
          <p:cNvPr id="37" name="TextBox 36"/>
          <p:cNvSpPr txBox="1"/>
          <p:nvPr/>
        </p:nvSpPr>
        <p:spPr>
          <a:xfrm>
            <a:off x="3607390"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Experiment design and measurement</a:t>
            </a:r>
          </a:p>
        </p:txBody>
      </p:sp>
      <p:sp>
        <p:nvSpPr>
          <p:cNvPr id="42" name="ee4pFootnotes"/>
          <p:cNvSpPr>
            <a:spLocks noChangeArrowheads="1"/>
          </p:cNvSpPr>
          <p:nvPr/>
        </p:nvSpPr>
        <p:spPr bwMode="auto">
          <a:xfrm>
            <a:off x="629998" y="6283973"/>
            <a:ext cx="8974763"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smtClean="0">
                <a:solidFill>
                  <a:schemeClr val="bg1">
                    <a:lumMod val="50000"/>
                  </a:schemeClr>
                </a:solidFill>
                <a:latin typeface="Trebuchet MS" panose="020B0603020202020204" pitchFamily="34" charset="0"/>
                <a:cs typeface="Arial" pitchFamily="34" charset="0"/>
              </a:rPr>
              <a:t>Entity-Relationship </a:t>
            </a:r>
            <a:r>
              <a:rPr lang="en-US" sz="1000" dirty="0" smtClean="0">
                <a:solidFill>
                  <a:schemeClr val="bg1">
                    <a:lumMod val="50000"/>
                  </a:schemeClr>
                </a:solidFill>
                <a:latin typeface="Trebuchet MS" panose="020B0603020202020204" pitchFamily="34" charset="0"/>
                <a:cs typeface="Arial" pitchFamily="34" charset="0"/>
              </a:rPr>
              <a:t>Diagram – a description of how objects are related to each other in a database and how that information can be mined for </a:t>
            </a:r>
            <a:r>
              <a:rPr lang="en-US" sz="1000" dirty="0" smtClean="0">
                <a:solidFill>
                  <a:schemeClr val="bg1">
                    <a:lumMod val="50000"/>
                  </a:schemeClr>
                </a:solidFill>
                <a:latin typeface="Trebuchet MS" panose="020B0603020202020204" pitchFamily="34" charset="0"/>
                <a:cs typeface="Arial" pitchFamily="34" charset="0"/>
              </a:rPr>
              <a:t>insight</a:t>
            </a:r>
          </a:p>
          <a:p>
            <a:pPr marL="228600" indent="-228600">
              <a:lnSpc>
                <a:spcPct val="90000"/>
              </a:lnSpc>
              <a:buAutoNum type="arabicPeriod"/>
            </a:pPr>
            <a:r>
              <a:rPr lang="en-US" sz="1000" dirty="0" smtClean="0">
                <a:solidFill>
                  <a:schemeClr val="bg1">
                    <a:lumMod val="50000"/>
                  </a:schemeClr>
                </a:solidFill>
                <a:latin typeface="Trebuchet MS" panose="020B0603020202020204" pitchFamily="34" charset="0"/>
                <a:cs typeface="Arial" pitchFamily="34" charset="0"/>
              </a:rPr>
              <a:t>CF – Collaborative Filtering</a:t>
            </a:r>
            <a:endParaRPr lang="en-US" sz="1000" dirty="0">
              <a:solidFill>
                <a:schemeClr val="bg1">
                  <a:lumMod val="50000"/>
                </a:schemeClr>
              </a:solidFill>
              <a:latin typeface="Trebuchet MS" panose="020B0603020202020204" pitchFamily="34" charset="0"/>
              <a:cs typeface="Arial" pitchFamily="34" charset="0"/>
            </a:endParaRPr>
          </a:p>
        </p:txBody>
      </p:sp>
      <p:cxnSp>
        <p:nvCxnSpPr>
          <p:cNvPr id="10" name="Straight Arrow Connector 9"/>
          <p:cNvCxnSpPr/>
          <p:nvPr/>
        </p:nvCxnSpPr>
        <p:spPr>
          <a:xfrm>
            <a:off x="658281" y="2900916"/>
            <a:ext cx="10933200" cy="0"/>
          </a:xfrm>
          <a:prstGeom prst="straightConnector1">
            <a:avLst/>
          </a:prstGeom>
          <a:ln w="101600"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630000"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5" name="TextBox 14"/>
          <p:cNvSpPr txBox="1"/>
          <p:nvPr/>
        </p:nvSpPr>
        <p:spPr>
          <a:xfrm>
            <a:off x="630000" y="2015224"/>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Aug. 23</a:t>
            </a:r>
            <a:r>
              <a:rPr lang="en-US" sz="1200" baseline="30000" dirty="0" smtClean="0">
                <a:solidFill>
                  <a:srgbClr val="575757"/>
                </a:solidFill>
              </a:rPr>
              <a:t>rd</a:t>
            </a:r>
            <a:endParaRPr lang="en-US" sz="1200" dirty="0" smtClean="0">
              <a:solidFill>
                <a:srgbClr val="575757"/>
              </a:solidFill>
            </a:endParaRPr>
          </a:p>
        </p:txBody>
      </p:sp>
      <p:sp>
        <p:nvSpPr>
          <p:cNvPr id="16" name="Oval 15"/>
          <p:cNvSpPr/>
          <p:nvPr/>
        </p:nvSpPr>
        <p:spPr>
          <a:xfrm>
            <a:off x="10142424"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7" name="TextBox 16"/>
          <p:cNvSpPr txBox="1"/>
          <p:nvPr/>
        </p:nvSpPr>
        <p:spPr>
          <a:xfrm>
            <a:off x="10142424" y="2015224"/>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Nov. 15</a:t>
            </a:r>
            <a:r>
              <a:rPr lang="en-US" sz="1200" baseline="30000" dirty="0" smtClean="0">
                <a:solidFill>
                  <a:srgbClr val="575757"/>
                </a:solidFill>
              </a:rPr>
              <a:t>th</a:t>
            </a:r>
            <a:endParaRPr lang="en-US" sz="1200" dirty="0" smtClean="0">
              <a:solidFill>
                <a:srgbClr val="575757"/>
              </a:solidFill>
            </a:endParaRPr>
          </a:p>
        </p:txBody>
      </p:sp>
      <p:sp>
        <p:nvSpPr>
          <p:cNvPr id="18" name="Oval 17"/>
          <p:cNvSpPr/>
          <p:nvPr/>
        </p:nvSpPr>
        <p:spPr>
          <a:xfrm>
            <a:off x="2215404"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 name="TextBox 18"/>
          <p:cNvSpPr txBox="1"/>
          <p:nvPr/>
        </p:nvSpPr>
        <p:spPr>
          <a:xfrm>
            <a:off x="2215404" y="2015224"/>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ept. 6</a:t>
            </a:r>
            <a:r>
              <a:rPr lang="en-US" sz="1200" baseline="30000" dirty="0" smtClean="0">
                <a:solidFill>
                  <a:srgbClr val="575757"/>
                </a:solidFill>
              </a:rPr>
              <a:t>th</a:t>
            </a:r>
            <a:endParaRPr lang="en-US" sz="1200" dirty="0" smtClean="0">
              <a:solidFill>
                <a:srgbClr val="575757"/>
              </a:solidFill>
            </a:endParaRPr>
          </a:p>
        </p:txBody>
      </p:sp>
      <p:sp>
        <p:nvSpPr>
          <p:cNvPr id="20" name="Oval 19"/>
          <p:cNvSpPr/>
          <p:nvPr/>
        </p:nvSpPr>
        <p:spPr>
          <a:xfrm>
            <a:off x="3800808"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1" name="TextBox 20"/>
          <p:cNvSpPr txBox="1"/>
          <p:nvPr/>
        </p:nvSpPr>
        <p:spPr>
          <a:xfrm>
            <a:off x="3800808" y="2015224"/>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ept. 20</a:t>
            </a:r>
            <a:r>
              <a:rPr lang="en-US" sz="1200" baseline="30000" dirty="0" smtClean="0">
                <a:solidFill>
                  <a:srgbClr val="575757"/>
                </a:solidFill>
              </a:rPr>
              <a:t>th</a:t>
            </a:r>
            <a:endParaRPr lang="en-US" sz="1200" dirty="0" smtClean="0">
              <a:solidFill>
                <a:srgbClr val="575757"/>
              </a:solidFill>
            </a:endParaRPr>
          </a:p>
        </p:txBody>
      </p:sp>
      <p:sp>
        <p:nvSpPr>
          <p:cNvPr id="22" name="Oval 21"/>
          <p:cNvSpPr/>
          <p:nvPr/>
        </p:nvSpPr>
        <p:spPr>
          <a:xfrm>
            <a:off x="5386212"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3" name="TextBox 22"/>
          <p:cNvSpPr txBox="1"/>
          <p:nvPr/>
        </p:nvSpPr>
        <p:spPr>
          <a:xfrm>
            <a:off x="5386212" y="2015224"/>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ct. 4</a:t>
            </a:r>
            <a:r>
              <a:rPr lang="en-US" sz="1200" baseline="30000" dirty="0" smtClean="0">
                <a:solidFill>
                  <a:srgbClr val="575757"/>
                </a:solidFill>
              </a:rPr>
              <a:t>th</a:t>
            </a:r>
            <a:endParaRPr lang="en-US" sz="1200" dirty="0" smtClean="0">
              <a:solidFill>
                <a:srgbClr val="575757"/>
              </a:solidFill>
            </a:endParaRPr>
          </a:p>
        </p:txBody>
      </p:sp>
      <p:sp>
        <p:nvSpPr>
          <p:cNvPr id="24" name="Oval 23"/>
          <p:cNvSpPr/>
          <p:nvPr/>
        </p:nvSpPr>
        <p:spPr>
          <a:xfrm>
            <a:off x="6971616"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5" name="TextBox 24"/>
          <p:cNvSpPr txBox="1"/>
          <p:nvPr/>
        </p:nvSpPr>
        <p:spPr>
          <a:xfrm>
            <a:off x="6971616" y="2015224"/>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ct. 18</a:t>
            </a:r>
            <a:r>
              <a:rPr lang="en-US" sz="1200" baseline="30000" dirty="0" smtClean="0">
                <a:solidFill>
                  <a:srgbClr val="575757"/>
                </a:solidFill>
              </a:rPr>
              <a:t>th</a:t>
            </a:r>
            <a:endParaRPr lang="en-US" sz="1200" dirty="0" smtClean="0">
              <a:solidFill>
                <a:srgbClr val="575757"/>
              </a:solidFill>
            </a:endParaRPr>
          </a:p>
        </p:txBody>
      </p:sp>
      <p:sp>
        <p:nvSpPr>
          <p:cNvPr id="26" name="Oval 25"/>
          <p:cNvSpPr/>
          <p:nvPr/>
        </p:nvSpPr>
        <p:spPr>
          <a:xfrm>
            <a:off x="8557020" y="2377045"/>
            <a:ext cx="1047742" cy="1047742"/>
          </a:xfrm>
          <a:prstGeom prst="ellipse">
            <a:avLst/>
          </a:prstGeom>
          <a:solidFill>
            <a:srgbClr val="FFFFFF"/>
          </a:solidFill>
          <a:ln w="5080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7" name="TextBox 26"/>
          <p:cNvSpPr txBox="1"/>
          <p:nvPr/>
        </p:nvSpPr>
        <p:spPr>
          <a:xfrm>
            <a:off x="8557020" y="2015224"/>
            <a:ext cx="1047742" cy="258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Nov. 1</a:t>
            </a:r>
            <a:r>
              <a:rPr lang="en-US" sz="1200" baseline="30000" dirty="0" smtClean="0">
                <a:solidFill>
                  <a:srgbClr val="575757"/>
                </a:solidFill>
              </a:rPr>
              <a:t>st</a:t>
            </a:r>
            <a:endParaRPr lang="en-US" sz="1200" dirty="0" smtClean="0">
              <a:solidFill>
                <a:srgbClr val="575757"/>
              </a:solidFill>
            </a:endParaRPr>
          </a:p>
        </p:txBody>
      </p:sp>
      <p:grpSp>
        <p:nvGrpSpPr>
          <p:cNvPr id="43" name="Group 42"/>
          <p:cNvGrpSpPr>
            <a:grpSpLocks noChangeAspect="1"/>
          </p:cNvGrpSpPr>
          <p:nvPr/>
        </p:nvGrpSpPr>
        <p:grpSpPr>
          <a:xfrm>
            <a:off x="822032" y="2568770"/>
            <a:ext cx="663677" cy="664292"/>
            <a:chOff x="5273801" y="2606040"/>
            <a:chExt cx="1644396" cy="1645920"/>
          </a:xfrm>
        </p:grpSpPr>
        <p:sp>
          <p:nvSpPr>
            <p:cNvPr id="44" name="AutoShape 33">
              <a:extLst>
                <a:ext uri="{FF2B5EF4-FFF2-40B4-BE49-F238E27FC236}">
                  <a16:creationId xmlns="" xmlns:a16="http://schemas.microsoft.com/office/drawing/2014/main"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p:cNvGrpSpPr/>
            <p:nvPr/>
          </p:nvGrpSpPr>
          <p:grpSpPr>
            <a:xfrm>
              <a:off x="5445632" y="2775204"/>
              <a:ext cx="1301877" cy="1306068"/>
              <a:chOff x="5445632" y="2775204"/>
              <a:chExt cx="1301877" cy="1306068"/>
            </a:xfrm>
          </p:grpSpPr>
          <p:sp>
            <p:nvSpPr>
              <p:cNvPr id="46" name="Freeform 35">
                <a:extLst>
                  <a:ext uri="{FF2B5EF4-FFF2-40B4-BE49-F238E27FC236}">
                    <a16:creationId xmlns="" xmlns:a16="http://schemas.microsoft.com/office/drawing/2014/main"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6">
                <a:extLst>
                  <a:ext uri="{FF2B5EF4-FFF2-40B4-BE49-F238E27FC236}">
                    <a16:creationId xmlns="" xmlns:a16="http://schemas.microsoft.com/office/drawing/2014/main"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8" name="Group 47"/>
          <p:cNvGrpSpPr>
            <a:grpSpLocks noChangeAspect="1"/>
          </p:cNvGrpSpPr>
          <p:nvPr/>
        </p:nvGrpSpPr>
        <p:grpSpPr>
          <a:xfrm>
            <a:off x="2407436" y="2568770"/>
            <a:ext cx="663677" cy="664292"/>
            <a:chOff x="5273801" y="2606040"/>
            <a:chExt cx="1644396" cy="1645920"/>
          </a:xfrm>
        </p:grpSpPr>
        <p:sp>
          <p:nvSpPr>
            <p:cNvPr id="49" name="AutoShape 8">
              <a:extLst>
                <a:ext uri="{FF2B5EF4-FFF2-40B4-BE49-F238E27FC236}">
                  <a16:creationId xmlns="" xmlns:a16="http://schemas.microsoft.com/office/drawing/2014/main" id="{24CAABA2-908D-463F-BC9B-EE3F829E12F8}"/>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p:cNvGrpSpPr/>
            <p:nvPr/>
          </p:nvGrpSpPr>
          <p:grpSpPr>
            <a:xfrm>
              <a:off x="5452109" y="2739771"/>
              <a:ext cx="1288923" cy="1264920"/>
              <a:chOff x="5452109" y="2739771"/>
              <a:chExt cx="1288923" cy="1264920"/>
            </a:xfrm>
          </p:grpSpPr>
          <p:sp>
            <p:nvSpPr>
              <p:cNvPr id="51" name="Freeform 10">
                <a:extLst>
                  <a:ext uri="{FF2B5EF4-FFF2-40B4-BE49-F238E27FC236}">
                    <a16:creationId xmlns="" xmlns:a16="http://schemas.microsoft.com/office/drawing/2014/main" id="{49225F70-5430-46E4-8C8F-038E4B4691D7}"/>
                  </a:ext>
                </a:extLst>
              </p:cNvPr>
              <p:cNvSpPr>
                <a:spLocks noEditPoints="1"/>
              </p:cNvSpPr>
              <p:nvPr/>
            </p:nvSpPr>
            <p:spPr bwMode="auto">
              <a:xfrm>
                <a:off x="5452109" y="3198114"/>
                <a:ext cx="1288923" cy="806577"/>
              </a:xfrm>
              <a:custGeom>
                <a:avLst/>
                <a:gdLst>
                  <a:gd name="T0" fmla="*/ 26 w 1806"/>
                  <a:gd name="T1" fmla="*/ 1129 h 1129"/>
                  <a:gd name="T2" fmla="*/ 5 w 1806"/>
                  <a:gd name="T3" fmla="*/ 1099 h 1129"/>
                  <a:gd name="T4" fmla="*/ 223 w 1806"/>
                  <a:gd name="T5" fmla="*/ 782 h 1129"/>
                  <a:gd name="T6" fmla="*/ 611 w 1806"/>
                  <a:gd name="T7" fmla="*/ 716 h 1129"/>
                  <a:gd name="T8" fmla="*/ 611 w 1806"/>
                  <a:gd name="T9" fmla="*/ 716 h 1129"/>
                  <a:gd name="T10" fmla="*/ 908 w 1806"/>
                  <a:gd name="T11" fmla="*/ 856 h 1129"/>
                  <a:gd name="T12" fmla="*/ 898 w 1806"/>
                  <a:gd name="T13" fmla="*/ 856 h 1129"/>
                  <a:gd name="T14" fmla="*/ 1195 w 1806"/>
                  <a:gd name="T15" fmla="*/ 716 h 1129"/>
                  <a:gd name="T16" fmla="*/ 1195 w 1806"/>
                  <a:gd name="T17" fmla="*/ 716 h 1129"/>
                  <a:gd name="T18" fmla="*/ 1583 w 1806"/>
                  <a:gd name="T19" fmla="*/ 782 h 1129"/>
                  <a:gd name="T20" fmla="*/ 1801 w 1806"/>
                  <a:gd name="T21" fmla="*/ 1099 h 1129"/>
                  <a:gd name="T22" fmla="*/ 1780 w 1806"/>
                  <a:gd name="T23" fmla="*/ 1129 h 1129"/>
                  <a:gd name="T24" fmla="*/ 26 w 1806"/>
                  <a:gd name="T25" fmla="*/ 1129 h 1129"/>
                  <a:gd name="T26" fmla="*/ 1329 w 1806"/>
                  <a:gd name="T27" fmla="*/ 192 h 1129"/>
                  <a:gd name="T28" fmla="*/ 1283 w 1806"/>
                  <a:gd name="T29" fmla="*/ 245 h 1129"/>
                  <a:gd name="T30" fmla="*/ 1273 w 1806"/>
                  <a:gd name="T31" fmla="*/ 257 h 1129"/>
                  <a:gd name="T32" fmla="*/ 1129 w 1806"/>
                  <a:gd name="T33" fmla="*/ 559 h 1129"/>
                  <a:gd name="T34" fmla="*/ 903 w 1806"/>
                  <a:gd name="T35" fmla="*/ 672 h 1129"/>
                  <a:gd name="T36" fmla="*/ 677 w 1806"/>
                  <a:gd name="T37" fmla="*/ 559 h 1129"/>
                  <a:gd name="T38" fmla="*/ 533 w 1806"/>
                  <a:gd name="T39" fmla="*/ 257 h 1129"/>
                  <a:gd name="T40" fmla="*/ 523 w 1806"/>
                  <a:gd name="T41" fmla="*/ 245 h 1129"/>
                  <a:gd name="T42" fmla="*/ 477 w 1806"/>
                  <a:gd name="T43" fmla="*/ 192 h 1129"/>
                  <a:gd name="T44" fmla="*/ 426 w 1806"/>
                  <a:gd name="T45" fmla="*/ 168 h 1129"/>
                  <a:gd name="T46" fmla="*/ 426 w 1806"/>
                  <a:gd name="T47" fmla="*/ 173 h 1129"/>
                  <a:gd name="T48" fmla="*/ 495 w 1806"/>
                  <a:gd name="T49" fmla="*/ 280 h 1129"/>
                  <a:gd name="T50" fmla="*/ 639 w 1806"/>
                  <a:gd name="T51" fmla="*/ 582 h 1129"/>
                  <a:gd name="T52" fmla="*/ 639 w 1806"/>
                  <a:gd name="T53" fmla="*/ 680 h 1129"/>
                  <a:gd name="T54" fmla="*/ 646 w 1806"/>
                  <a:gd name="T55" fmla="*/ 690 h 1129"/>
                  <a:gd name="T56" fmla="*/ 683 w 1806"/>
                  <a:gd name="T57" fmla="*/ 728 h 1129"/>
                  <a:gd name="T58" fmla="*/ 683 w 1806"/>
                  <a:gd name="T59" fmla="*/ 619 h 1129"/>
                  <a:gd name="T60" fmla="*/ 903 w 1806"/>
                  <a:gd name="T61" fmla="*/ 716 h 1129"/>
                  <a:gd name="T62" fmla="*/ 1123 w 1806"/>
                  <a:gd name="T63" fmla="*/ 619 h 1129"/>
                  <a:gd name="T64" fmla="*/ 1123 w 1806"/>
                  <a:gd name="T65" fmla="*/ 728 h 1129"/>
                  <a:gd name="T66" fmla="*/ 1160 w 1806"/>
                  <a:gd name="T67" fmla="*/ 690 h 1129"/>
                  <a:gd name="T68" fmla="*/ 1167 w 1806"/>
                  <a:gd name="T69" fmla="*/ 680 h 1129"/>
                  <a:gd name="T70" fmla="*/ 1167 w 1806"/>
                  <a:gd name="T71" fmla="*/ 582 h 1129"/>
                  <a:gd name="T72" fmla="*/ 1311 w 1806"/>
                  <a:gd name="T73" fmla="*/ 280 h 1129"/>
                  <a:gd name="T74" fmla="*/ 1380 w 1806"/>
                  <a:gd name="T75" fmla="*/ 171 h 1129"/>
                  <a:gd name="T76" fmla="*/ 1380 w 1806"/>
                  <a:gd name="T77" fmla="*/ 168 h 1129"/>
                  <a:gd name="T78" fmla="*/ 1329 w 1806"/>
                  <a:gd name="T79" fmla="*/ 192 h 1129"/>
                  <a:gd name="T80" fmla="*/ 529 w 1806"/>
                  <a:gd name="T81" fmla="*/ 52 h 1129"/>
                  <a:gd name="T82" fmla="*/ 471 w 1806"/>
                  <a:gd name="T83" fmla="*/ 23 h 1129"/>
                  <a:gd name="T84" fmla="*/ 432 w 1806"/>
                  <a:gd name="T85" fmla="*/ 4 h 1129"/>
                  <a:gd name="T86" fmla="*/ 450 w 1806"/>
                  <a:gd name="T87" fmla="*/ 100 h 1129"/>
                  <a:gd name="T88" fmla="*/ 450 w 1806"/>
                  <a:gd name="T89" fmla="*/ 101 h 1129"/>
                  <a:gd name="T90" fmla="*/ 497 w 1806"/>
                  <a:gd name="T91" fmla="*/ 161 h 1129"/>
                  <a:gd name="T92" fmla="*/ 528 w 1806"/>
                  <a:gd name="T93" fmla="*/ 164 h 1129"/>
                  <a:gd name="T94" fmla="*/ 529 w 1806"/>
                  <a:gd name="T95" fmla="*/ 52 h 1129"/>
                  <a:gd name="T96" fmla="*/ 1298 w 1806"/>
                  <a:gd name="T97" fmla="*/ 38 h 1129"/>
                  <a:gd name="T98" fmla="*/ 1268 w 1806"/>
                  <a:gd name="T99" fmla="*/ 53 h 1129"/>
                  <a:gd name="T100" fmla="*/ 1270 w 1806"/>
                  <a:gd name="T101" fmla="*/ 170 h 1129"/>
                  <a:gd name="T102" fmla="*/ 1304 w 1806"/>
                  <a:gd name="T103" fmla="*/ 170 h 1129"/>
                  <a:gd name="T104" fmla="*/ 1358 w 1806"/>
                  <a:gd name="T105" fmla="*/ 94 h 1129"/>
                  <a:gd name="T106" fmla="*/ 1358 w 1806"/>
                  <a:gd name="T107" fmla="*/ 95 h 1129"/>
                  <a:gd name="T108" fmla="*/ 1374 w 1806"/>
                  <a:gd name="T109" fmla="*/ 0 h 1129"/>
                  <a:gd name="T110" fmla="*/ 1298 w 1806"/>
                  <a:gd name="T111" fmla="*/ 38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6" h="1129">
                    <a:moveTo>
                      <a:pt x="26" y="1129"/>
                    </a:moveTo>
                    <a:cubicBezTo>
                      <a:pt x="10" y="1129"/>
                      <a:pt x="0" y="1113"/>
                      <a:pt x="5" y="1099"/>
                    </a:cubicBezTo>
                    <a:cubicBezTo>
                      <a:pt x="33" y="1025"/>
                      <a:pt x="113" y="832"/>
                      <a:pt x="223" y="782"/>
                    </a:cubicBezTo>
                    <a:cubicBezTo>
                      <a:pt x="359" y="719"/>
                      <a:pt x="611" y="716"/>
                      <a:pt x="611" y="716"/>
                    </a:cubicBezTo>
                    <a:cubicBezTo>
                      <a:pt x="611" y="716"/>
                      <a:pt x="611" y="716"/>
                      <a:pt x="611" y="716"/>
                    </a:cubicBezTo>
                    <a:cubicBezTo>
                      <a:pt x="611" y="716"/>
                      <a:pt x="711" y="856"/>
                      <a:pt x="908" y="856"/>
                    </a:cubicBezTo>
                    <a:cubicBezTo>
                      <a:pt x="898" y="856"/>
                      <a:pt x="898" y="856"/>
                      <a:pt x="898" y="856"/>
                    </a:cubicBezTo>
                    <a:cubicBezTo>
                      <a:pt x="1095" y="856"/>
                      <a:pt x="1195" y="716"/>
                      <a:pt x="1195" y="716"/>
                    </a:cubicBezTo>
                    <a:cubicBezTo>
                      <a:pt x="1195" y="716"/>
                      <a:pt x="1195" y="716"/>
                      <a:pt x="1195" y="716"/>
                    </a:cubicBezTo>
                    <a:cubicBezTo>
                      <a:pt x="1195" y="716"/>
                      <a:pt x="1447" y="719"/>
                      <a:pt x="1583" y="782"/>
                    </a:cubicBezTo>
                    <a:cubicBezTo>
                      <a:pt x="1693" y="832"/>
                      <a:pt x="1773" y="1025"/>
                      <a:pt x="1801" y="1099"/>
                    </a:cubicBezTo>
                    <a:cubicBezTo>
                      <a:pt x="1806" y="1113"/>
                      <a:pt x="1796" y="1129"/>
                      <a:pt x="1780" y="1129"/>
                    </a:cubicBezTo>
                    <a:lnTo>
                      <a:pt x="26" y="1129"/>
                    </a:lnTo>
                    <a:close/>
                    <a:moveTo>
                      <a:pt x="1329" y="192"/>
                    </a:moveTo>
                    <a:cubicBezTo>
                      <a:pt x="1322" y="211"/>
                      <a:pt x="1308" y="233"/>
                      <a:pt x="1283" y="245"/>
                    </a:cubicBezTo>
                    <a:cubicBezTo>
                      <a:pt x="1278" y="248"/>
                      <a:pt x="1274" y="252"/>
                      <a:pt x="1273" y="257"/>
                    </a:cubicBezTo>
                    <a:cubicBezTo>
                      <a:pt x="1232" y="360"/>
                      <a:pt x="1157" y="533"/>
                      <a:pt x="1129" y="559"/>
                    </a:cubicBezTo>
                    <a:cubicBezTo>
                      <a:pt x="1084" y="598"/>
                      <a:pt x="968" y="672"/>
                      <a:pt x="903" y="672"/>
                    </a:cubicBezTo>
                    <a:cubicBezTo>
                      <a:pt x="838" y="672"/>
                      <a:pt x="722" y="598"/>
                      <a:pt x="677" y="559"/>
                    </a:cubicBezTo>
                    <a:cubicBezTo>
                      <a:pt x="649" y="533"/>
                      <a:pt x="574" y="360"/>
                      <a:pt x="533" y="257"/>
                    </a:cubicBezTo>
                    <a:cubicBezTo>
                      <a:pt x="532" y="252"/>
                      <a:pt x="528" y="248"/>
                      <a:pt x="523" y="245"/>
                    </a:cubicBezTo>
                    <a:cubicBezTo>
                      <a:pt x="498" y="233"/>
                      <a:pt x="484" y="211"/>
                      <a:pt x="477" y="192"/>
                    </a:cubicBezTo>
                    <a:cubicBezTo>
                      <a:pt x="426" y="168"/>
                      <a:pt x="426" y="168"/>
                      <a:pt x="426" y="168"/>
                    </a:cubicBezTo>
                    <a:cubicBezTo>
                      <a:pt x="426" y="170"/>
                      <a:pt x="426" y="172"/>
                      <a:pt x="426" y="173"/>
                    </a:cubicBezTo>
                    <a:cubicBezTo>
                      <a:pt x="431" y="201"/>
                      <a:pt x="446" y="251"/>
                      <a:pt x="495" y="280"/>
                    </a:cubicBezTo>
                    <a:cubicBezTo>
                      <a:pt x="517" y="336"/>
                      <a:pt x="594" y="527"/>
                      <a:pt x="639" y="582"/>
                    </a:cubicBezTo>
                    <a:cubicBezTo>
                      <a:pt x="639" y="680"/>
                      <a:pt x="639" y="680"/>
                      <a:pt x="639" y="680"/>
                    </a:cubicBezTo>
                    <a:cubicBezTo>
                      <a:pt x="646" y="690"/>
                      <a:pt x="646" y="690"/>
                      <a:pt x="646" y="690"/>
                    </a:cubicBezTo>
                    <a:cubicBezTo>
                      <a:pt x="648" y="692"/>
                      <a:pt x="660" y="708"/>
                      <a:pt x="683" y="728"/>
                    </a:cubicBezTo>
                    <a:cubicBezTo>
                      <a:pt x="683" y="619"/>
                      <a:pt x="683" y="619"/>
                      <a:pt x="683" y="619"/>
                    </a:cubicBezTo>
                    <a:cubicBezTo>
                      <a:pt x="742" y="662"/>
                      <a:pt x="838" y="716"/>
                      <a:pt x="903" y="716"/>
                    </a:cubicBezTo>
                    <a:cubicBezTo>
                      <a:pt x="968" y="716"/>
                      <a:pt x="1064" y="662"/>
                      <a:pt x="1123" y="619"/>
                    </a:cubicBezTo>
                    <a:cubicBezTo>
                      <a:pt x="1123" y="728"/>
                      <a:pt x="1123" y="728"/>
                      <a:pt x="1123" y="728"/>
                    </a:cubicBezTo>
                    <a:cubicBezTo>
                      <a:pt x="1146" y="708"/>
                      <a:pt x="1158" y="692"/>
                      <a:pt x="1160" y="690"/>
                    </a:cubicBezTo>
                    <a:cubicBezTo>
                      <a:pt x="1167" y="680"/>
                      <a:pt x="1167" y="680"/>
                      <a:pt x="1167" y="680"/>
                    </a:cubicBezTo>
                    <a:cubicBezTo>
                      <a:pt x="1167" y="582"/>
                      <a:pt x="1167" y="582"/>
                      <a:pt x="1167" y="582"/>
                    </a:cubicBezTo>
                    <a:cubicBezTo>
                      <a:pt x="1212" y="526"/>
                      <a:pt x="1289" y="336"/>
                      <a:pt x="1311" y="280"/>
                    </a:cubicBezTo>
                    <a:cubicBezTo>
                      <a:pt x="1363" y="250"/>
                      <a:pt x="1377" y="194"/>
                      <a:pt x="1380" y="171"/>
                    </a:cubicBezTo>
                    <a:cubicBezTo>
                      <a:pt x="1380" y="170"/>
                      <a:pt x="1380" y="169"/>
                      <a:pt x="1380" y="168"/>
                    </a:cubicBezTo>
                    <a:lnTo>
                      <a:pt x="1329" y="192"/>
                    </a:lnTo>
                    <a:close/>
                    <a:moveTo>
                      <a:pt x="529" y="52"/>
                    </a:moveTo>
                    <a:cubicBezTo>
                      <a:pt x="514" y="45"/>
                      <a:pt x="495" y="35"/>
                      <a:pt x="471" y="23"/>
                    </a:cubicBezTo>
                    <a:cubicBezTo>
                      <a:pt x="458" y="16"/>
                      <a:pt x="444" y="10"/>
                      <a:pt x="432" y="4"/>
                    </a:cubicBezTo>
                    <a:cubicBezTo>
                      <a:pt x="434" y="37"/>
                      <a:pt x="438" y="69"/>
                      <a:pt x="450" y="100"/>
                    </a:cubicBezTo>
                    <a:cubicBezTo>
                      <a:pt x="450" y="100"/>
                      <a:pt x="450" y="101"/>
                      <a:pt x="450" y="101"/>
                    </a:cubicBezTo>
                    <a:cubicBezTo>
                      <a:pt x="497" y="143"/>
                      <a:pt x="497" y="161"/>
                      <a:pt x="497" y="161"/>
                    </a:cubicBezTo>
                    <a:cubicBezTo>
                      <a:pt x="528" y="164"/>
                      <a:pt x="528" y="164"/>
                      <a:pt x="528" y="164"/>
                    </a:cubicBezTo>
                    <a:cubicBezTo>
                      <a:pt x="528" y="164"/>
                      <a:pt x="524" y="113"/>
                      <a:pt x="529" y="52"/>
                    </a:cubicBezTo>
                    <a:close/>
                    <a:moveTo>
                      <a:pt x="1298" y="38"/>
                    </a:moveTo>
                    <a:cubicBezTo>
                      <a:pt x="1286" y="44"/>
                      <a:pt x="1276" y="49"/>
                      <a:pt x="1268" y="53"/>
                    </a:cubicBezTo>
                    <a:cubicBezTo>
                      <a:pt x="1270" y="162"/>
                      <a:pt x="1270" y="170"/>
                      <a:pt x="1270" y="170"/>
                    </a:cubicBezTo>
                    <a:cubicBezTo>
                      <a:pt x="1304" y="170"/>
                      <a:pt x="1304" y="170"/>
                      <a:pt x="1304" y="170"/>
                    </a:cubicBezTo>
                    <a:cubicBezTo>
                      <a:pt x="1349" y="120"/>
                      <a:pt x="1356" y="95"/>
                      <a:pt x="1358" y="94"/>
                    </a:cubicBezTo>
                    <a:cubicBezTo>
                      <a:pt x="1358" y="95"/>
                      <a:pt x="1358" y="95"/>
                      <a:pt x="1358" y="95"/>
                    </a:cubicBezTo>
                    <a:cubicBezTo>
                      <a:pt x="1369" y="65"/>
                      <a:pt x="1373" y="33"/>
                      <a:pt x="1374" y="0"/>
                    </a:cubicBezTo>
                    <a:cubicBezTo>
                      <a:pt x="1355" y="10"/>
                      <a:pt x="1324" y="25"/>
                      <a:pt x="129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1">
                <a:extLst>
                  <a:ext uri="{FF2B5EF4-FFF2-40B4-BE49-F238E27FC236}">
                    <a16:creationId xmlns="" xmlns:a16="http://schemas.microsoft.com/office/drawing/2014/main" id="{B806E2F4-DFF9-4C80-980B-E2F3C9FB8A33}"/>
                  </a:ext>
                </a:extLst>
              </p:cNvPr>
              <p:cNvSpPr>
                <a:spLocks/>
              </p:cNvSpPr>
              <p:nvPr/>
            </p:nvSpPr>
            <p:spPr bwMode="auto">
              <a:xfrm>
                <a:off x="5675756" y="2739771"/>
                <a:ext cx="842010" cy="526923"/>
              </a:xfrm>
              <a:custGeom>
                <a:avLst/>
                <a:gdLst>
                  <a:gd name="T0" fmla="*/ 1056 w 1180"/>
                  <a:gd name="T1" fmla="*/ 596 h 738"/>
                  <a:gd name="T2" fmla="*/ 1177 w 1180"/>
                  <a:gd name="T3" fmla="*/ 550 h 738"/>
                  <a:gd name="T4" fmla="*/ 1180 w 1180"/>
                  <a:gd name="T5" fmla="*/ 547 h 738"/>
                  <a:gd name="T6" fmla="*/ 1162 w 1180"/>
                  <a:gd name="T7" fmla="*/ 465 h 738"/>
                  <a:gd name="T8" fmla="*/ 1161 w 1180"/>
                  <a:gd name="T9" fmla="*/ 463 h 738"/>
                  <a:gd name="T10" fmla="*/ 1149 w 1180"/>
                  <a:gd name="T11" fmla="*/ 458 h 738"/>
                  <a:gd name="T12" fmla="*/ 1054 w 1180"/>
                  <a:gd name="T13" fmla="*/ 380 h 738"/>
                  <a:gd name="T14" fmla="*/ 1052 w 1180"/>
                  <a:gd name="T15" fmla="*/ 375 h 738"/>
                  <a:gd name="T16" fmla="*/ 791 w 1180"/>
                  <a:gd name="T17" fmla="*/ 53 h 738"/>
                  <a:gd name="T18" fmla="*/ 779 w 1180"/>
                  <a:gd name="T19" fmla="*/ 62 h 738"/>
                  <a:gd name="T20" fmla="*/ 781 w 1180"/>
                  <a:gd name="T21" fmla="*/ 501 h 738"/>
                  <a:gd name="T22" fmla="*/ 737 w 1180"/>
                  <a:gd name="T23" fmla="*/ 558 h 738"/>
                  <a:gd name="T24" fmla="*/ 737 w 1180"/>
                  <a:gd name="T25" fmla="*/ 558 h 738"/>
                  <a:gd name="T26" fmla="*/ 695 w 1180"/>
                  <a:gd name="T27" fmla="*/ 515 h 738"/>
                  <a:gd name="T28" fmla="*/ 695 w 1180"/>
                  <a:gd name="T29" fmla="*/ 501 h 738"/>
                  <a:gd name="T30" fmla="*/ 694 w 1180"/>
                  <a:gd name="T31" fmla="*/ 4 h 738"/>
                  <a:gd name="T32" fmla="*/ 694 w 1180"/>
                  <a:gd name="T33" fmla="*/ 0 h 738"/>
                  <a:gd name="T34" fmla="*/ 486 w 1180"/>
                  <a:gd name="T35" fmla="*/ 0 h 738"/>
                  <a:gd name="T36" fmla="*/ 486 w 1180"/>
                  <a:gd name="T37" fmla="*/ 4 h 738"/>
                  <a:gd name="T38" fmla="*/ 486 w 1180"/>
                  <a:gd name="T39" fmla="*/ 501 h 738"/>
                  <a:gd name="T40" fmla="*/ 486 w 1180"/>
                  <a:gd name="T41" fmla="*/ 501 h 738"/>
                  <a:gd name="T42" fmla="*/ 482 w 1180"/>
                  <a:gd name="T43" fmla="*/ 528 h 738"/>
                  <a:gd name="T44" fmla="*/ 443 w 1180"/>
                  <a:gd name="T45" fmla="*/ 558 h 738"/>
                  <a:gd name="T46" fmla="*/ 443 w 1180"/>
                  <a:gd name="T47" fmla="*/ 558 h 738"/>
                  <a:gd name="T48" fmla="*/ 401 w 1180"/>
                  <a:gd name="T49" fmla="*/ 515 h 738"/>
                  <a:gd name="T50" fmla="*/ 401 w 1180"/>
                  <a:gd name="T51" fmla="*/ 500 h 738"/>
                  <a:gd name="T52" fmla="*/ 402 w 1180"/>
                  <a:gd name="T53" fmla="*/ 62 h 738"/>
                  <a:gd name="T54" fmla="*/ 389 w 1180"/>
                  <a:gd name="T55" fmla="*/ 53 h 738"/>
                  <a:gd name="T56" fmla="*/ 128 w 1180"/>
                  <a:gd name="T57" fmla="*/ 375 h 738"/>
                  <a:gd name="T58" fmla="*/ 128 w 1180"/>
                  <a:gd name="T59" fmla="*/ 380 h 738"/>
                  <a:gd name="T60" fmla="*/ 33 w 1180"/>
                  <a:gd name="T61" fmla="*/ 458 h 738"/>
                  <a:gd name="T62" fmla="*/ 21 w 1180"/>
                  <a:gd name="T63" fmla="*/ 463 h 738"/>
                  <a:gd name="T64" fmla="*/ 18 w 1180"/>
                  <a:gd name="T65" fmla="*/ 465 h 738"/>
                  <a:gd name="T66" fmla="*/ 0 w 1180"/>
                  <a:gd name="T67" fmla="*/ 548 h 738"/>
                  <a:gd name="T68" fmla="*/ 3 w 1180"/>
                  <a:gd name="T69" fmla="*/ 552 h 738"/>
                  <a:gd name="T70" fmla="*/ 110 w 1180"/>
                  <a:gd name="T71" fmla="*/ 592 h 738"/>
                  <a:gd name="T72" fmla="*/ 267 w 1180"/>
                  <a:gd name="T73" fmla="*/ 669 h 738"/>
                  <a:gd name="T74" fmla="*/ 591 w 1180"/>
                  <a:gd name="T75" fmla="*/ 738 h 738"/>
                  <a:gd name="T76" fmla="*/ 915 w 1180"/>
                  <a:gd name="T77" fmla="*/ 666 h 738"/>
                  <a:gd name="T78" fmla="*/ 1056 w 1180"/>
                  <a:gd name="T79" fmla="*/ 596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0" h="738">
                    <a:moveTo>
                      <a:pt x="1056" y="596"/>
                    </a:moveTo>
                    <a:cubicBezTo>
                      <a:pt x="1093" y="578"/>
                      <a:pt x="1133" y="562"/>
                      <a:pt x="1177" y="550"/>
                    </a:cubicBezTo>
                    <a:cubicBezTo>
                      <a:pt x="1179" y="550"/>
                      <a:pt x="1180" y="548"/>
                      <a:pt x="1180" y="547"/>
                    </a:cubicBezTo>
                    <a:cubicBezTo>
                      <a:pt x="1179" y="519"/>
                      <a:pt x="1163" y="486"/>
                      <a:pt x="1162" y="465"/>
                    </a:cubicBezTo>
                    <a:cubicBezTo>
                      <a:pt x="1162" y="464"/>
                      <a:pt x="1162" y="463"/>
                      <a:pt x="1161" y="463"/>
                    </a:cubicBezTo>
                    <a:cubicBezTo>
                      <a:pt x="1157" y="461"/>
                      <a:pt x="1152" y="459"/>
                      <a:pt x="1149" y="458"/>
                    </a:cubicBezTo>
                    <a:cubicBezTo>
                      <a:pt x="1118" y="447"/>
                      <a:pt x="1073" y="456"/>
                      <a:pt x="1054" y="380"/>
                    </a:cubicBezTo>
                    <a:cubicBezTo>
                      <a:pt x="1052" y="375"/>
                      <a:pt x="1052" y="375"/>
                      <a:pt x="1052" y="375"/>
                    </a:cubicBezTo>
                    <a:cubicBezTo>
                      <a:pt x="1033" y="300"/>
                      <a:pt x="985" y="120"/>
                      <a:pt x="791" y="53"/>
                    </a:cubicBezTo>
                    <a:cubicBezTo>
                      <a:pt x="785" y="50"/>
                      <a:pt x="779" y="55"/>
                      <a:pt x="779" y="62"/>
                    </a:cubicBezTo>
                    <a:cubicBezTo>
                      <a:pt x="781" y="501"/>
                      <a:pt x="781" y="501"/>
                      <a:pt x="781" y="501"/>
                    </a:cubicBezTo>
                    <a:cubicBezTo>
                      <a:pt x="781" y="533"/>
                      <a:pt x="769" y="558"/>
                      <a:pt x="737" y="558"/>
                    </a:cubicBezTo>
                    <a:cubicBezTo>
                      <a:pt x="737" y="558"/>
                      <a:pt x="737" y="558"/>
                      <a:pt x="737" y="558"/>
                    </a:cubicBezTo>
                    <a:cubicBezTo>
                      <a:pt x="714" y="558"/>
                      <a:pt x="695" y="539"/>
                      <a:pt x="695" y="515"/>
                    </a:cubicBezTo>
                    <a:cubicBezTo>
                      <a:pt x="695" y="501"/>
                      <a:pt x="695" y="501"/>
                      <a:pt x="695" y="501"/>
                    </a:cubicBezTo>
                    <a:cubicBezTo>
                      <a:pt x="694" y="4"/>
                      <a:pt x="694" y="4"/>
                      <a:pt x="694" y="4"/>
                    </a:cubicBezTo>
                    <a:cubicBezTo>
                      <a:pt x="694" y="0"/>
                      <a:pt x="694" y="0"/>
                      <a:pt x="694" y="0"/>
                    </a:cubicBezTo>
                    <a:cubicBezTo>
                      <a:pt x="486" y="0"/>
                      <a:pt x="486" y="0"/>
                      <a:pt x="486" y="0"/>
                    </a:cubicBezTo>
                    <a:cubicBezTo>
                      <a:pt x="486" y="4"/>
                      <a:pt x="486" y="4"/>
                      <a:pt x="486" y="4"/>
                    </a:cubicBezTo>
                    <a:cubicBezTo>
                      <a:pt x="486" y="501"/>
                      <a:pt x="486" y="501"/>
                      <a:pt x="486" y="501"/>
                    </a:cubicBezTo>
                    <a:cubicBezTo>
                      <a:pt x="486" y="501"/>
                      <a:pt x="486" y="501"/>
                      <a:pt x="486" y="501"/>
                    </a:cubicBezTo>
                    <a:cubicBezTo>
                      <a:pt x="486" y="511"/>
                      <a:pt x="485" y="519"/>
                      <a:pt x="482" y="528"/>
                    </a:cubicBezTo>
                    <a:cubicBezTo>
                      <a:pt x="476" y="546"/>
                      <a:pt x="464" y="558"/>
                      <a:pt x="443" y="558"/>
                    </a:cubicBezTo>
                    <a:cubicBezTo>
                      <a:pt x="443" y="558"/>
                      <a:pt x="443" y="558"/>
                      <a:pt x="443" y="558"/>
                    </a:cubicBezTo>
                    <a:cubicBezTo>
                      <a:pt x="420" y="558"/>
                      <a:pt x="401" y="539"/>
                      <a:pt x="401" y="515"/>
                    </a:cubicBezTo>
                    <a:cubicBezTo>
                      <a:pt x="401" y="500"/>
                      <a:pt x="401" y="500"/>
                      <a:pt x="401" y="500"/>
                    </a:cubicBezTo>
                    <a:cubicBezTo>
                      <a:pt x="402" y="62"/>
                      <a:pt x="402" y="62"/>
                      <a:pt x="402" y="62"/>
                    </a:cubicBezTo>
                    <a:cubicBezTo>
                      <a:pt x="402" y="55"/>
                      <a:pt x="395" y="50"/>
                      <a:pt x="389" y="53"/>
                    </a:cubicBezTo>
                    <a:cubicBezTo>
                      <a:pt x="195" y="120"/>
                      <a:pt x="148" y="300"/>
                      <a:pt x="128" y="375"/>
                    </a:cubicBezTo>
                    <a:cubicBezTo>
                      <a:pt x="128" y="380"/>
                      <a:pt x="128" y="380"/>
                      <a:pt x="128" y="380"/>
                    </a:cubicBezTo>
                    <a:cubicBezTo>
                      <a:pt x="107" y="456"/>
                      <a:pt x="63" y="447"/>
                      <a:pt x="33" y="458"/>
                    </a:cubicBezTo>
                    <a:cubicBezTo>
                      <a:pt x="29" y="459"/>
                      <a:pt x="24" y="461"/>
                      <a:pt x="21" y="463"/>
                    </a:cubicBezTo>
                    <a:cubicBezTo>
                      <a:pt x="19" y="463"/>
                      <a:pt x="18" y="464"/>
                      <a:pt x="18" y="465"/>
                    </a:cubicBezTo>
                    <a:cubicBezTo>
                      <a:pt x="17" y="487"/>
                      <a:pt x="1" y="520"/>
                      <a:pt x="0" y="548"/>
                    </a:cubicBezTo>
                    <a:cubicBezTo>
                      <a:pt x="0" y="550"/>
                      <a:pt x="1" y="552"/>
                      <a:pt x="3" y="552"/>
                    </a:cubicBezTo>
                    <a:cubicBezTo>
                      <a:pt x="41" y="563"/>
                      <a:pt x="76" y="578"/>
                      <a:pt x="110" y="592"/>
                    </a:cubicBezTo>
                    <a:cubicBezTo>
                      <a:pt x="136" y="605"/>
                      <a:pt x="249" y="662"/>
                      <a:pt x="267" y="669"/>
                    </a:cubicBezTo>
                    <a:cubicBezTo>
                      <a:pt x="351" y="708"/>
                      <a:pt x="445" y="738"/>
                      <a:pt x="591" y="738"/>
                    </a:cubicBezTo>
                    <a:cubicBezTo>
                      <a:pt x="735" y="738"/>
                      <a:pt x="831" y="706"/>
                      <a:pt x="915" y="666"/>
                    </a:cubicBezTo>
                    <a:cubicBezTo>
                      <a:pt x="926" y="661"/>
                      <a:pt x="1032" y="607"/>
                      <a:pt x="1056" y="5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3" name="bcgIcons_Chemistry">
            <a:extLst>
              <a:ext uri="{FF2B5EF4-FFF2-40B4-BE49-F238E27FC236}">
                <a16:creationId xmlns="" xmlns:a16="http://schemas.microsoft.com/office/drawing/2014/main" id="{A3F02006-09DD-4BA1-BA6E-503BEE995873}"/>
              </a:ext>
            </a:extLst>
          </p:cNvPr>
          <p:cNvGrpSpPr>
            <a:grpSpLocks noChangeAspect="1"/>
          </p:cNvGrpSpPr>
          <p:nvPr/>
        </p:nvGrpSpPr>
        <p:grpSpPr bwMode="auto">
          <a:xfrm>
            <a:off x="3992840" y="2568770"/>
            <a:ext cx="663677" cy="664292"/>
            <a:chOff x="1682" y="0"/>
            <a:chExt cx="4316" cy="4320"/>
          </a:xfrm>
        </p:grpSpPr>
        <p:sp>
          <p:nvSpPr>
            <p:cNvPr id="54" name="AutoShape 33">
              <a:extLst>
                <a:ext uri="{FF2B5EF4-FFF2-40B4-BE49-F238E27FC236}">
                  <a16:creationId xmlns="" xmlns:a16="http://schemas.microsoft.com/office/drawing/2014/main" id="{1D99D6D6-A50E-416A-9D1A-9C6DED9893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5">
              <a:extLst>
                <a:ext uri="{FF2B5EF4-FFF2-40B4-BE49-F238E27FC236}">
                  <a16:creationId xmlns="" xmlns:a16="http://schemas.microsoft.com/office/drawing/2014/main" id="{7CF52ED9-3637-43AC-9340-2F4ECE519F06}"/>
                </a:ext>
              </a:extLst>
            </p:cNvPr>
            <p:cNvSpPr>
              <a:spLocks/>
            </p:cNvSpPr>
            <p:nvPr/>
          </p:nvSpPr>
          <p:spPr bwMode="auto">
            <a:xfrm>
              <a:off x="2673" y="1106"/>
              <a:ext cx="2334" cy="3043"/>
            </a:xfrm>
            <a:custGeom>
              <a:avLst/>
              <a:gdLst>
                <a:gd name="T0" fmla="*/ 1104 w 1246"/>
                <a:gd name="T1" fmla="*/ 605 h 1623"/>
                <a:gd name="T2" fmla="*/ 769 w 1246"/>
                <a:gd name="T3" fmla="*/ 394 h 1623"/>
                <a:gd name="T4" fmla="*/ 769 w 1246"/>
                <a:gd name="T5" fmla="*/ 44 h 1623"/>
                <a:gd name="T6" fmla="*/ 815 w 1246"/>
                <a:gd name="T7" fmla="*/ 44 h 1623"/>
                <a:gd name="T8" fmla="*/ 815 w 1246"/>
                <a:gd name="T9" fmla="*/ 58 h 1623"/>
                <a:gd name="T10" fmla="*/ 837 w 1246"/>
                <a:gd name="T11" fmla="*/ 80 h 1623"/>
                <a:gd name="T12" fmla="*/ 859 w 1246"/>
                <a:gd name="T13" fmla="*/ 58 h 1623"/>
                <a:gd name="T14" fmla="*/ 859 w 1246"/>
                <a:gd name="T15" fmla="*/ 22 h 1623"/>
                <a:gd name="T16" fmla="*/ 837 w 1246"/>
                <a:gd name="T17" fmla="*/ 0 h 1623"/>
                <a:gd name="T18" fmla="*/ 769 w 1246"/>
                <a:gd name="T19" fmla="*/ 0 h 1623"/>
                <a:gd name="T20" fmla="*/ 747 w 1246"/>
                <a:gd name="T21" fmla="*/ 0 h 1623"/>
                <a:gd name="T22" fmla="*/ 725 w 1246"/>
                <a:gd name="T23" fmla="*/ 0 h 1623"/>
                <a:gd name="T24" fmla="*/ 725 w 1246"/>
                <a:gd name="T25" fmla="*/ 412 h 1623"/>
                <a:gd name="T26" fmla="*/ 742 w 1246"/>
                <a:gd name="T27" fmla="*/ 433 h 1623"/>
                <a:gd name="T28" fmla="*/ 1202 w 1246"/>
                <a:gd name="T29" fmla="*/ 1000 h 1623"/>
                <a:gd name="T30" fmla="*/ 623 w 1246"/>
                <a:gd name="T31" fmla="*/ 1579 h 1623"/>
                <a:gd name="T32" fmla="*/ 44 w 1246"/>
                <a:gd name="T33" fmla="*/ 1000 h 1623"/>
                <a:gd name="T34" fmla="*/ 504 w 1246"/>
                <a:gd name="T35" fmla="*/ 433 h 1623"/>
                <a:gd name="T36" fmla="*/ 521 w 1246"/>
                <a:gd name="T37" fmla="*/ 412 h 1623"/>
                <a:gd name="T38" fmla="*/ 521 w 1246"/>
                <a:gd name="T39" fmla="*/ 22 h 1623"/>
                <a:gd name="T40" fmla="*/ 499 w 1246"/>
                <a:gd name="T41" fmla="*/ 0 h 1623"/>
                <a:gd name="T42" fmla="*/ 409 w 1246"/>
                <a:gd name="T43" fmla="*/ 0 h 1623"/>
                <a:gd name="T44" fmla="*/ 387 w 1246"/>
                <a:gd name="T45" fmla="*/ 22 h 1623"/>
                <a:gd name="T46" fmla="*/ 387 w 1246"/>
                <a:gd name="T47" fmla="*/ 58 h 1623"/>
                <a:gd name="T48" fmla="*/ 409 w 1246"/>
                <a:gd name="T49" fmla="*/ 80 h 1623"/>
                <a:gd name="T50" fmla="*/ 431 w 1246"/>
                <a:gd name="T51" fmla="*/ 58 h 1623"/>
                <a:gd name="T52" fmla="*/ 431 w 1246"/>
                <a:gd name="T53" fmla="*/ 44 h 1623"/>
                <a:gd name="T54" fmla="*/ 477 w 1246"/>
                <a:gd name="T55" fmla="*/ 44 h 1623"/>
                <a:gd name="T56" fmla="*/ 477 w 1246"/>
                <a:gd name="T57" fmla="*/ 394 h 1623"/>
                <a:gd name="T58" fmla="*/ 142 w 1246"/>
                <a:gd name="T59" fmla="*/ 605 h 1623"/>
                <a:gd name="T60" fmla="*/ 0 w 1246"/>
                <a:gd name="T61" fmla="*/ 1000 h 1623"/>
                <a:gd name="T62" fmla="*/ 623 w 1246"/>
                <a:gd name="T63" fmla="*/ 1623 h 1623"/>
                <a:gd name="T64" fmla="*/ 1246 w 1246"/>
                <a:gd name="T65" fmla="*/ 1000 h 1623"/>
                <a:gd name="T66" fmla="*/ 1104 w 1246"/>
                <a:gd name="T67" fmla="*/ 605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6" h="1623">
                  <a:moveTo>
                    <a:pt x="1104" y="605"/>
                  </a:moveTo>
                  <a:cubicBezTo>
                    <a:pt x="1018" y="500"/>
                    <a:pt x="900" y="426"/>
                    <a:pt x="769" y="394"/>
                  </a:cubicBezTo>
                  <a:cubicBezTo>
                    <a:pt x="769" y="44"/>
                    <a:pt x="769" y="44"/>
                    <a:pt x="769" y="44"/>
                  </a:cubicBezTo>
                  <a:cubicBezTo>
                    <a:pt x="815" y="44"/>
                    <a:pt x="815" y="44"/>
                    <a:pt x="815" y="44"/>
                  </a:cubicBezTo>
                  <a:cubicBezTo>
                    <a:pt x="815" y="58"/>
                    <a:pt x="815" y="58"/>
                    <a:pt x="815" y="58"/>
                  </a:cubicBezTo>
                  <a:cubicBezTo>
                    <a:pt x="815" y="70"/>
                    <a:pt x="825" y="80"/>
                    <a:pt x="837" y="80"/>
                  </a:cubicBezTo>
                  <a:cubicBezTo>
                    <a:pt x="849" y="80"/>
                    <a:pt x="859" y="70"/>
                    <a:pt x="859" y="58"/>
                  </a:cubicBezTo>
                  <a:cubicBezTo>
                    <a:pt x="859" y="22"/>
                    <a:pt x="859" y="22"/>
                    <a:pt x="859" y="22"/>
                  </a:cubicBezTo>
                  <a:cubicBezTo>
                    <a:pt x="859" y="10"/>
                    <a:pt x="849" y="0"/>
                    <a:pt x="837" y="0"/>
                  </a:cubicBezTo>
                  <a:cubicBezTo>
                    <a:pt x="769" y="0"/>
                    <a:pt x="769" y="0"/>
                    <a:pt x="769" y="0"/>
                  </a:cubicBezTo>
                  <a:cubicBezTo>
                    <a:pt x="747" y="0"/>
                    <a:pt x="747" y="0"/>
                    <a:pt x="747" y="0"/>
                  </a:cubicBezTo>
                  <a:cubicBezTo>
                    <a:pt x="725" y="0"/>
                    <a:pt x="725" y="0"/>
                    <a:pt x="725" y="0"/>
                  </a:cubicBezTo>
                  <a:cubicBezTo>
                    <a:pt x="725" y="412"/>
                    <a:pt x="725" y="412"/>
                    <a:pt x="725" y="412"/>
                  </a:cubicBezTo>
                  <a:cubicBezTo>
                    <a:pt x="725" y="422"/>
                    <a:pt x="732" y="431"/>
                    <a:pt x="742" y="433"/>
                  </a:cubicBezTo>
                  <a:cubicBezTo>
                    <a:pt x="1009" y="489"/>
                    <a:pt x="1202" y="727"/>
                    <a:pt x="1202" y="1000"/>
                  </a:cubicBezTo>
                  <a:cubicBezTo>
                    <a:pt x="1202" y="1319"/>
                    <a:pt x="942" y="1579"/>
                    <a:pt x="623" y="1579"/>
                  </a:cubicBezTo>
                  <a:cubicBezTo>
                    <a:pt x="304" y="1579"/>
                    <a:pt x="44" y="1319"/>
                    <a:pt x="44" y="1000"/>
                  </a:cubicBezTo>
                  <a:cubicBezTo>
                    <a:pt x="44" y="727"/>
                    <a:pt x="237" y="489"/>
                    <a:pt x="504" y="433"/>
                  </a:cubicBezTo>
                  <a:cubicBezTo>
                    <a:pt x="514" y="431"/>
                    <a:pt x="521" y="422"/>
                    <a:pt x="521" y="412"/>
                  </a:cubicBezTo>
                  <a:cubicBezTo>
                    <a:pt x="521" y="22"/>
                    <a:pt x="521" y="22"/>
                    <a:pt x="521" y="22"/>
                  </a:cubicBezTo>
                  <a:cubicBezTo>
                    <a:pt x="521" y="10"/>
                    <a:pt x="511" y="0"/>
                    <a:pt x="499" y="0"/>
                  </a:cubicBezTo>
                  <a:cubicBezTo>
                    <a:pt x="409" y="0"/>
                    <a:pt x="409" y="0"/>
                    <a:pt x="409" y="0"/>
                  </a:cubicBezTo>
                  <a:cubicBezTo>
                    <a:pt x="397" y="0"/>
                    <a:pt x="387" y="10"/>
                    <a:pt x="387" y="22"/>
                  </a:cubicBezTo>
                  <a:cubicBezTo>
                    <a:pt x="387" y="58"/>
                    <a:pt x="387" y="58"/>
                    <a:pt x="387" y="58"/>
                  </a:cubicBezTo>
                  <a:cubicBezTo>
                    <a:pt x="387" y="70"/>
                    <a:pt x="397" y="80"/>
                    <a:pt x="409" y="80"/>
                  </a:cubicBezTo>
                  <a:cubicBezTo>
                    <a:pt x="421" y="80"/>
                    <a:pt x="431" y="70"/>
                    <a:pt x="431" y="58"/>
                  </a:cubicBezTo>
                  <a:cubicBezTo>
                    <a:pt x="431" y="44"/>
                    <a:pt x="431" y="44"/>
                    <a:pt x="431" y="44"/>
                  </a:cubicBezTo>
                  <a:cubicBezTo>
                    <a:pt x="477" y="44"/>
                    <a:pt x="477" y="44"/>
                    <a:pt x="477" y="44"/>
                  </a:cubicBezTo>
                  <a:cubicBezTo>
                    <a:pt x="477" y="394"/>
                    <a:pt x="477" y="394"/>
                    <a:pt x="477" y="394"/>
                  </a:cubicBezTo>
                  <a:cubicBezTo>
                    <a:pt x="346" y="426"/>
                    <a:pt x="228" y="500"/>
                    <a:pt x="142" y="605"/>
                  </a:cubicBezTo>
                  <a:cubicBezTo>
                    <a:pt x="50" y="716"/>
                    <a:pt x="0" y="856"/>
                    <a:pt x="0" y="1000"/>
                  </a:cubicBezTo>
                  <a:cubicBezTo>
                    <a:pt x="0" y="1343"/>
                    <a:pt x="280" y="1623"/>
                    <a:pt x="623" y="1623"/>
                  </a:cubicBezTo>
                  <a:cubicBezTo>
                    <a:pt x="966" y="1623"/>
                    <a:pt x="1246" y="1343"/>
                    <a:pt x="1246" y="1000"/>
                  </a:cubicBezTo>
                  <a:cubicBezTo>
                    <a:pt x="1246" y="856"/>
                    <a:pt x="1196" y="716"/>
                    <a:pt x="1104" y="6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36">
              <a:extLst>
                <a:ext uri="{FF2B5EF4-FFF2-40B4-BE49-F238E27FC236}">
                  <a16:creationId xmlns="" xmlns:a16="http://schemas.microsoft.com/office/drawing/2014/main" id="{D1F8AEA5-E00D-4A7B-A7A2-A53E01FACFFA}"/>
                </a:ext>
              </a:extLst>
            </p:cNvPr>
            <p:cNvSpPr>
              <a:spLocks noEditPoints="1"/>
            </p:cNvSpPr>
            <p:nvPr/>
          </p:nvSpPr>
          <p:spPr bwMode="auto">
            <a:xfrm>
              <a:off x="2872" y="172"/>
              <a:ext cx="1936" cy="3779"/>
            </a:xfrm>
            <a:custGeom>
              <a:avLst/>
              <a:gdLst>
                <a:gd name="T0" fmla="*/ 517 w 1034"/>
                <a:gd name="T1" fmla="*/ 981 h 2015"/>
                <a:gd name="T2" fmla="*/ 0 w 1034"/>
                <a:gd name="T3" fmla="*/ 1498 h 2015"/>
                <a:gd name="T4" fmla="*/ 517 w 1034"/>
                <a:gd name="T5" fmla="*/ 2015 h 2015"/>
                <a:gd name="T6" fmla="*/ 1034 w 1034"/>
                <a:gd name="T7" fmla="*/ 1498 h 2015"/>
                <a:gd name="T8" fmla="*/ 517 w 1034"/>
                <a:gd name="T9" fmla="*/ 981 h 2015"/>
                <a:gd name="T10" fmla="*/ 293 w 1034"/>
                <a:gd name="T11" fmla="*/ 1376 h 2015"/>
                <a:gd name="T12" fmla="*/ 249 w 1034"/>
                <a:gd name="T13" fmla="*/ 1330 h 2015"/>
                <a:gd name="T14" fmla="*/ 293 w 1034"/>
                <a:gd name="T15" fmla="*/ 1284 h 2015"/>
                <a:gd name="T16" fmla="*/ 339 w 1034"/>
                <a:gd name="T17" fmla="*/ 1330 h 2015"/>
                <a:gd name="T18" fmla="*/ 293 w 1034"/>
                <a:gd name="T19" fmla="*/ 1376 h 2015"/>
                <a:gd name="T20" fmla="*/ 386 w 1034"/>
                <a:gd name="T21" fmla="*/ 1750 h 2015"/>
                <a:gd name="T22" fmla="*/ 358 w 1034"/>
                <a:gd name="T23" fmla="*/ 1722 h 2015"/>
                <a:gd name="T24" fmla="*/ 386 w 1034"/>
                <a:gd name="T25" fmla="*/ 1696 h 2015"/>
                <a:gd name="T26" fmla="*/ 412 w 1034"/>
                <a:gd name="T27" fmla="*/ 1722 h 2015"/>
                <a:gd name="T28" fmla="*/ 386 w 1034"/>
                <a:gd name="T29" fmla="*/ 1750 h 2015"/>
                <a:gd name="T30" fmla="*/ 412 w 1034"/>
                <a:gd name="T31" fmla="*/ 1124 h 2015"/>
                <a:gd name="T32" fmla="*/ 462 w 1034"/>
                <a:gd name="T33" fmla="*/ 1074 h 2015"/>
                <a:gd name="T34" fmla="*/ 513 w 1034"/>
                <a:gd name="T35" fmla="*/ 1124 h 2015"/>
                <a:gd name="T36" fmla="*/ 462 w 1034"/>
                <a:gd name="T37" fmla="*/ 1176 h 2015"/>
                <a:gd name="T38" fmla="*/ 412 w 1034"/>
                <a:gd name="T39" fmla="*/ 1124 h 2015"/>
                <a:gd name="T40" fmla="*/ 523 w 1034"/>
                <a:gd name="T41" fmla="*/ 1914 h 2015"/>
                <a:gd name="T42" fmla="*/ 486 w 1034"/>
                <a:gd name="T43" fmla="*/ 1878 h 2015"/>
                <a:gd name="T44" fmla="*/ 523 w 1034"/>
                <a:gd name="T45" fmla="*/ 1842 h 2015"/>
                <a:gd name="T46" fmla="*/ 558 w 1034"/>
                <a:gd name="T47" fmla="*/ 1878 h 2015"/>
                <a:gd name="T48" fmla="*/ 523 w 1034"/>
                <a:gd name="T49" fmla="*/ 1914 h 2015"/>
                <a:gd name="T50" fmla="*/ 536 w 1034"/>
                <a:gd name="T51" fmla="*/ 1577 h 2015"/>
                <a:gd name="T52" fmla="*/ 475 w 1034"/>
                <a:gd name="T53" fmla="*/ 1518 h 2015"/>
                <a:gd name="T54" fmla="*/ 536 w 1034"/>
                <a:gd name="T55" fmla="*/ 1457 h 2015"/>
                <a:gd name="T56" fmla="*/ 595 w 1034"/>
                <a:gd name="T57" fmla="*/ 1518 h 2015"/>
                <a:gd name="T58" fmla="*/ 536 w 1034"/>
                <a:gd name="T59" fmla="*/ 1577 h 2015"/>
                <a:gd name="T60" fmla="*/ 673 w 1034"/>
                <a:gd name="T61" fmla="*/ 1339 h 2015"/>
                <a:gd name="T62" fmla="*/ 641 w 1034"/>
                <a:gd name="T63" fmla="*/ 1307 h 2015"/>
                <a:gd name="T64" fmla="*/ 673 w 1034"/>
                <a:gd name="T65" fmla="*/ 1275 h 2015"/>
                <a:gd name="T66" fmla="*/ 705 w 1034"/>
                <a:gd name="T67" fmla="*/ 1307 h 2015"/>
                <a:gd name="T68" fmla="*/ 673 w 1034"/>
                <a:gd name="T69" fmla="*/ 1339 h 2015"/>
                <a:gd name="T70" fmla="*/ 525 w 1034"/>
                <a:gd name="T71" fmla="*/ 453 h 2015"/>
                <a:gd name="T72" fmla="*/ 425 w 1034"/>
                <a:gd name="T73" fmla="*/ 353 h 2015"/>
                <a:gd name="T74" fmla="*/ 525 w 1034"/>
                <a:gd name="T75" fmla="*/ 253 h 2015"/>
                <a:gd name="T76" fmla="*/ 625 w 1034"/>
                <a:gd name="T77" fmla="*/ 353 h 2015"/>
                <a:gd name="T78" fmla="*/ 525 w 1034"/>
                <a:gd name="T79" fmla="*/ 453 h 2015"/>
                <a:gd name="T80" fmla="*/ 407 w 1034"/>
                <a:gd name="T81" fmla="*/ 220 h 2015"/>
                <a:gd name="T82" fmla="*/ 352 w 1034"/>
                <a:gd name="T83" fmla="*/ 165 h 2015"/>
                <a:gd name="T84" fmla="*/ 407 w 1034"/>
                <a:gd name="T85" fmla="*/ 110 h 2015"/>
                <a:gd name="T86" fmla="*/ 462 w 1034"/>
                <a:gd name="T87" fmla="*/ 165 h 2015"/>
                <a:gd name="T88" fmla="*/ 407 w 1034"/>
                <a:gd name="T89" fmla="*/ 220 h 2015"/>
                <a:gd name="T90" fmla="*/ 580 w 1034"/>
                <a:gd name="T91" fmla="*/ 94 h 2015"/>
                <a:gd name="T92" fmla="*/ 533 w 1034"/>
                <a:gd name="T93" fmla="*/ 47 h 2015"/>
                <a:gd name="T94" fmla="*/ 580 w 1034"/>
                <a:gd name="T95" fmla="*/ 0 h 2015"/>
                <a:gd name="T96" fmla="*/ 627 w 1034"/>
                <a:gd name="T97" fmla="*/ 47 h 2015"/>
                <a:gd name="T98" fmla="*/ 580 w 1034"/>
                <a:gd name="T99" fmla="*/ 94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4" h="2015">
                  <a:moveTo>
                    <a:pt x="517" y="981"/>
                  </a:moveTo>
                  <a:cubicBezTo>
                    <a:pt x="231" y="981"/>
                    <a:pt x="0" y="1212"/>
                    <a:pt x="0" y="1498"/>
                  </a:cubicBezTo>
                  <a:cubicBezTo>
                    <a:pt x="0" y="1783"/>
                    <a:pt x="231" y="2015"/>
                    <a:pt x="517" y="2015"/>
                  </a:cubicBezTo>
                  <a:cubicBezTo>
                    <a:pt x="803" y="2015"/>
                    <a:pt x="1034" y="1783"/>
                    <a:pt x="1034" y="1498"/>
                  </a:cubicBezTo>
                  <a:cubicBezTo>
                    <a:pt x="1034" y="1212"/>
                    <a:pt x="803" y="981"/>
                    <a:pt x="517" y="981"/>
                  </a:cubicBezTo>
                  <a:close/>
                  <a:moveTo>
                    <a:pt x="293" y="1376"/>
                  </a:moveTo>
                  <a:cubicBezTo>
                    <a:pt x="269" y="1376"/>
                    <a:pt x="249" y="1356"/>
                    <a:pt x="249" y="1330"/>
                  </a:cubicBezTo>
                  <a:cubicBezTo>
                    <a:pt x="249" y="1305"/>
                    <a:pt x="269" y="1284"/>
                    <a:pt x="293" y="1284"/>
                  </a:cubicBezTo>
                  <a:cubicBezTo>
                    <a:pt x="319" y="1284"/>
                    <a:pt x="339" y="1305"/>
                    <a:pt x="339" y="1330"/>
                  </a:cubicBezTo>
                  <a:cubicBezTo>
                    <a:pt x="339" y="1356"/>
                    <a:pt x="319" y="1376"/>
                    <a:pt x="293" y="1376"/>
                  </a:cubicBezTo>
                  <a:close/>
                  <a:moveTo>
                    <a:pt x="386" y="1750"/>
                  </a:moveTo>
                  <a:cubicBezTo>
                    <a:pt x="371" y="1750"/>
                    <a:pt x="358" y="1737"/>
                    <a:pt x="358" y="1722"/>
                  </a:cubicBezTo>
                  <a:cubicBezTo>
                    <a:pt x="358" y="1707"/>
                    <a:pt x="371" y="1696"/>
                    <a:pt x="386" y="1696"/>
                  </a:cubicBezTo>
                  <a:cubicBezTo>
                    <a:pt x="401" y="1696"/>
                    <a:pt x="412" y="1707"/>
                    <a:pt x="412" y="1722"/>
                  </a:cubicBezTo>
                  <a:cubicBezTo>
                    <a:pt x="412" y="1737"/>
                    <a:pt x="401" y="1750"/>
                    <a:pt x="386" y="1750"/>
                  </a:cubicBezTo>
                  <a:close/>
                  <a:moveTo>
                    <a:pt x="412" y="1124"/>
                  </a:moveTo>
                  <a:cubicBezTo>
                    <a:pt x="412" y="1097"/>
                    <a:pt x="434" y="1074"/>
                    <a:pt x="462" y="1074"/>
                  </a:cubicBezTo>
                  <a:cubicBezTo>
                    <a:pt x="491" y="1074"/>
                    <a:pt x="513" y="1097"/>
                    <a:pt x="513" y="1124"/>
                  </a:cubicBezTo>
                  <a:cubicBezTo>
                    <a:pt x="513" y="1153"/>
                    <a:pt x="491" y="1176"/>
                    <a:pt x="462" y="1176"/>
                  </a:cubicBezTo>
                  <a:cubicBezTo>
                    <a:pt x="434" y="1176"/>
                    <a:pt x="412" y="1153"/>
                    <a:pt x="412" y="1124"/>
                  </a:cubicBezTo>
                  <a:close/>
                  <a:moveTo>
                    <a:pt x="523" y="1914"/>
                  </a:moveTo>
                  <a:cubicBezTo>
                    <a:pt x="502" y="1914"/>
                    <a:pt x="486" y="1899"/>
                    <a:pt x="486" y="1878"/>
                  </a:cubicBezTo>
                  <a:cubicBezTo>
                    <a:pt x="486" y="1857"/>
                    <a:pt x="502" y="1842"/>
                    <a:pt x="523" y="1842"/>
                  </a:cubicBezTo>
                  <a:cubicBezTo>
                    <a:pt x="541" y="1842"/>
                    <a:pt x="558" y="1857"/>
                    <a:pt x="558" y="1878"/>
                  </a:cubicBezTo>
                  <a:cubicBezTo>
                    <a:pt x="558" y="1899"/>
                    <a:pt x="541" y="1914"/>
                    <a:pt x="523" y="1914"/>
                  </a:cubicBezTo>
                  <a:close/>
                  <a:moveTo>
                    <a:pt x="536" y="1577"/>
                  </a:moveTo>
                  <a:cubicBezTo>
                    <a:pt x="504" y="1577"/>
                    <a:pt x="475" y="1549"/>
                    <a:pt x="475" y="1518"/>
                  </a:cubicBezTo>
                  <a:cubicBezTo>
                    <a:pt x="475" y="1483"/>
                    <a:pt x="504" y="1457"/>
                    <a:pt x="536" y="1457"/>
                  </a:cubicBezTo>
                  <a:cubicBezTo>
                    <a:pt x="568" y="1457"/>
                    <a:pt x="595" y="1483"/>
                    <a:pt x="595" y="1518"/>
                  </a:cubicBezTo>
                  <a:cubicBezTo>
                    <a:pt x="595" y="1549"/>
                    <a:pt x="568" y="1577"/>
                    <a:pt x="536" y="1577"/>
                  </a:cubicBezTo>
                  <a:close/>
                  <a:moveTo>
                    <a:pt x="673" y="1339"/>
                  </a:moveTo>
                  <a:cubicBezTo>
                    <a:pt x="656" y="1339"/>
                    <a:pt x="641" y="1326"/>
                    <a:pt x="641" y="1307"/>
                  </a:cubicBezTo>
                  <a:cubicBezTo>
                    <a:pt x="641" y="1290"/>
                    <a:pt x="656" y="1275"/>
                    <a:pt x="673" y="1275"/>
                  </a:cubicBezTo>
                  <a:cubicBezTo>
                    <a:pt x="690" y="1275"/>
                    <a:pt x="705" y="1290"/>
                    <a:pt x="705" y="1307"/>
                  </a:cubicBezTo>
                  <a:cubicBezTo>
                    <a:pt x="705" y="1326"/>
                    <a:pt x="690" y="1339"/>
                    <a:pt x="673" y="1339"/>
                  </a:cubicBezTo>
                  <a:close/>
                  <a:moveTo>
                    <a:pt x="525" y="453"/>
                  </a:moveTo>
                  <a:cubicBezTo>
                    <a:pt x="470" y="453"/>
                    <a:pt x="425" y="408"/>
                    <a:pt x="425" y="353"/>
                  </a:cubicBezTo>
                  <a:cubicBezTo>
                    <a:pt x="425" y="298"/>
                    <a:pt x="470" y="253"/>
                    <a:pt x="525" y="253"/>
                  </a:cubicBezTo>
                  <a:cubicBezTo>
                    <a:pt x="580" y="253"/>
                    <a:pt x="625" y="298"/>
                    <a:pt x="625" y="353"/>
                  </a:cubicBezTo>
                  <a:cubicBezTo>
                    <a:pt x="625" y="408"/>
                    <a:pt x="580" y="453"/>
                    <a:pt x="525" y="453"/>
                  </a:cubicBezTo>
                  <a:close/>
                  <a:moveTo>
                    <a:pt x="407" y="220"/>
                  </a:moveTo>
                  <a:cubicBezTo>
                    <a:pt x="377" y="220"/>
                    <a:pt x="352" y="195"/>
                    <a:pt x="352" y="165"/>
                  </a:cubicBezTo>
                  <a:cubicBezTo>
                    <a:pt x="352" y="135"/>
                    <a:pt x="377" y="110"/>
                    <a:pt x="407" y="110"/>
                  </a:cubicBezTo>
                  <a:cubicBezTo>
                    <a:pt x="438" y="110"/>
                    <a:pt x="462" y="135"/>
                    <a:pt x="462" y="165"/>
                  </a:cubicBezTo>
                  <a:cubicBezTo>
                    <a:pt x="462" y="195"/>
                    <a:pt x="438" y="220"/>
                    <a:pt x="407" y="220"/>
                  </a:cubicBezTo>
                  <a:close/>
                  <a:moveTo>
                    <a:pt x="580" y="94"/>
                  </a:moveTo>
                  <a:cubicBezTo>
                    <a:pt x="554" y="94"/>
                    <a:pt x="533" y="73"/>
                    <a:pt x="533" y="47"/>
                  </a:cubicBezTo>
                  <a:cubicBezTo>
                    <a:pt x="533" y="21"/>
                    <a:pt x="554" y="0"/>
                    <a:pt x="580" y="0"/>
                  </a:cubicBezTo>
                  <a:cubicBezTo>
                    <a:pt x="606" y="0"/>
                    <a:pt x="627" y="21"/>
                    <a:pt x="627" y="47"/>
                  </a:cubicBezTo>
                  <a:cubicBezTo>
                    <a:pt x="627" y="73"/>
                    <a:pt x="606" y="94"/>
                    <a:pt x="58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7" name="bcgIcons_OptimizeByTakingSteepStep">
            <a:extLst>
              <a:ext uri="{FF2B5EF4-FFF2-40B4-BE49-F238E27FC236}">
                <a16:creationId xmlns="" xmlns:a16="http://schemas.microsoft.com/office/drawing/2014/main" id="{891169B4-D0FB-4FDD-87B2-B8D15E5A2A5E}"/>
              </a:ext>
            </a:extLst>
          </p:cNvPr>
          <p:cNvGrpSpPr>
            <a:grpSpLocks noChangeAspect="1"/>
          </p:cNvGrpSpPr>
          <p:nvPr/>
        </p:nvGrpSpPr>
        <p:grpSpPr bwMode="auto">
          <a:xfrm>
            <a:off x="5578244" y="2568770"/>
            <a:ext cx="663677" cy="664292"/>
            <a:chOff x="1682" y="0"/>
            <a:chExt cx="4316" cy="4320"/>
          </a:xfrm>
        </p:grpSpPr>
        <p:sp>
          <p:nvSpPr>
            <p:cNvPr id="58" name="AutoShape 18">
              <a:extLst>
                <a:ext uri="{FF2B5EF4-FFF2-40B4-BE49-F238E27FC236}">
                  <a16:creationId xmlns="" xmlns:a16="http://schemas.microsoft.com/office/drawing/2014/main" id="{DB2FD2B6-E892-4021-AF78-99DC83EF174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0">
              <a:extLst>
                <a:ext uri="{FF2B5EF4-FFF2-40B4-BE49-F238E27FC236}">
                  <a16:creationId xmlns="" xmlns:a16="http://schemas.microsoft.com/office/drawing/2014/main" id="{09FD098A-9282-478C-863B-743B9F594F06}"/>
                </a:ext>
              </a:extLst>
            </p:cNvPr>
            <p:cNvSpPr>
              <a:spLocks noEditPoints="1"/>
            </p:cNvSpPr>
            <p:nvPr/>
          </p:nvSpPr>
          <p:spPr bwMode="auto">
            <a:xfrm>
              <a:off x="2469" y="748"/>
              <a:ext cx="2738" cy="1371"/>
            </a:xfrm>
            <a:custGeom>
              <a:avLst/>
              <a:gdLst>
                <a:gd name="T0" fmla="*/ 964 w 1462"/>
                <a:gd name="T1" fmla="*/ 167 h 731"/>
                <a:gd name="T2" fmla="*/ 731 w 1462"/>
                <a:gd name="T3" fmla="*/ 120 h 731"/>
                <a:gd name="T4" fmla="*/ 120 w 1462"/>
                <a:gd name="T5" fmla="*/ 731 h 731"/>
                <a:gd name="T6" fmla="*/ 0 w 1462"/>
                <a:gd name="T7" fmla="*/ 731 h 731"/>
                <a:gd name="T8" fmla="*/ 731 w 1462"/>
                <a:gd name="T9" fmla="*/ 0 h 731"/>
                <a:gd name="T10" fmla="*/ 1029 w 1462"/>
                <a:gd name="T11" fmla="*/ 64 h 731"/>
                <a:gd name="T12" fmla="*/ 964 w 1462"/>
                <a:gd name="T13" fmla="*/ 167 h 731"/>
                <a:gd name="T14" fmla="*/ 1180 w 1462"/>
                <a:gd name="T15" fmla="*/ 155 h 731"/>
                <a:gd name="T16" fmla="*/ 1121 w 1462"/>
                <a:gd name="T17" fmla="*/ 261 h 731"/>
                <a:gd name="T18" fmla="*/ 1342 w 1462"/>
                <a:gd name="T19" fmla="*/ 731 h 731"/>
                <a:gd name="T20" fmla="*/ 1462 w 1462"/>
                <a:gd name="T21" fmla="*/ 731 h 731"/>
                <a:gd name="T22" fmla="*/ 1180 w 1462"/>
                <a:gd name="T23" fmla="*/ 155 h 731"/>
                <a:gd name="T24" fmla="*/ 297 w 1462"/>
                <a:gd name="T25" fmla="*/ 685 h 731"/>
                <a:gd name="T26" fmla="*/ 252 w 1462"/>
                <a:gd name="T27" fmla="*/ 640 h 731"/>
                <a:gd name="T28" fmla="*/ 206 w 1462"/>
                <a:gd name="T29" fmla="*/ 685 h 731"/>
                <a:gd name="T30" fmla="*/ 252 w 1462"/>
                <a:gd name="T31" fmla="*/ 731 h 731"/>
                <a:gd name="T32" fmla="*/ 297 w 1462"/>
                <a:gd name="T33" fmla="*/ 685 h 731"/>
                <a:gd name="T34" fmla="*/ 1256 w 1462"/>
                <a:gd name="T35" fmla="*/ 685 h 731"/>
                <a:gd name="T36" fmla="*/ 1210 w 1462"/>
                <a:gd name="T37" fmla="*/ 640 h 731"/>
                <a:gd name="T38" fmla="*/ 1165 w 1462"/>
                <a:gd name="T39" fmla="*/ 685 h 731"/>
                <a:gd name="T40" fmla="*/ 1210 w 1462"/>
                <a:gd name="T41" fmla="*/ 731 h 731"/>
                <a:gd name="T42" fmla="*/ 1256 w 1462"/>
                <a:gd name="T43" fmla="*/ 685 h 731"/>
                <a:gd name="T44" fmla="*/ 355 w 1462"/>
                <a:gd name="T45" fmla="*/ 469 h 731"/>
                <a:gd name="T46" fmla="*/ 339 w 1462"/>
                <a:gd name="T47" fmla="*/ 406 h 731"/>
                <a:gd name="T48" fmla="*/ 276 w 1462"/>
                <a:gd name="T49" fmla="*/ 423 h 731"/>
                <a:gd name="T50" fmla="*/ 293 w 1462"/>
                <a:gd name="T51" fmla="*/ 485 h 731"/>
                <a:gd name="T52" fmla="*/ 355 w 1462"/>
                <a:gd name="T53" fmla="*/ 469 h 731"/>
                <a:gd name="T54" fmla="*/ 514 w 1462"/>
                <a:gd name="T55" fmla="*/ 310 h 731"/>
                <a:gd name="T56" fmla="*/ 531 w 1462"/>
                <a:gd name="T57" fmla="*/ 248 h 731"/>
                <a:gd name="T58" fmla="*/ 469 w 1462"/>
                <a:gd name="T59" fmla="*/ 231 h 731"/>
                <a:gd name="T60" fmla="*/ 452 w 1462"/>
                <a:gd name="T61" fmla="*/ 293 h 731"/>
                <a:gd name="T62" fmla="*/ 514 w 1462"/>
                <a:gd name="T63" fmla="*/ 310 h 731"/>
                <a:gd name="T64" fmla="*/ 731 w 1462"/>
                <a:gd name="T65" fmla="*/ 252 h 731"/>
                <a:gd name="T66" fmla="*/ 777 w 1462"/>
                <a:gd name="T67" fmla="*/ 206 h 731"/>
                <a:gd name="T68" fmla="*/ 731 w 1462"/>
                <a:gd name="T69" fmla="*/ 161 h 731"/>
                <a:gd name="T70" fmla="*/ 685 w 1462"/>
                <a:gd name="T71" fmla="*/ 206 h 731"/>
                <a:gd name="T72" fmla="*/ 731 w 1462"/>
                <a:gd name="T73" fmla="*/ 252 h 731"/>
                <a:gd name="T74" fmla="*/ 1107 w 1462"/>
                <a:gd name="T75" fmla="*/ 469 h 731"/>
                <a:gd name="T76" fmla="*/ 1169 w 1462"/>
                <a:gd name="T77" fmla="*/ 485 h 731"/>
                <a:gd name="T78" fmla="*/ 1186 w 1462"/>
                <a:gd name="T79" fmla="*/ 423 h 731"/>
                <a:gd name="T80" fmla="*/ 1123 w 1462"/>
                <a:gd name="T81" fmla="*/ 406 h 731"/>
                <a:gd name="T82" fmla="*/ 1107 w 1462"/>
                <a:gd name="T83" fmla="*/ 469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62" h="73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1">
              <a:extLst>
                <a:ext uri="{FF2B5EF4-FFF2-40B4-BE49-F238E27FC236}">
                  <a16:creationId xmlns="" xmlns:a16="http://schemas.microsoft.com/office/drawing/2014/main" id="{7E0D1466-DF88-4C43-A54C-F74BAA679069}"/>
                </a:ext>
              </a:extLst>
            </p:cNvPr>
            <p:cNvSpPr>
              <a:spLocks noEditPoints="1"/>
            </p:cNvSpPr>
            <p:nvPr/>
          </p:nvSpPr>
          <p:spPr bwMode="auto">
            <a:xfrm>
              <a:off x="2469" y="891"/>
              <a:ext cx="2738" cy="2677"/>
            </a:xfrm>
            <a:custGeom>
              <a:avLst/>
              <a:gdLst>
                <a:gd name="T0" fmla="*/ 1124 w 1462"/>
                <a:gd name="T1" fmla="*/ 87 h 1428"/>
                <a:gd name="T2" fmla="*/ 1117 w 1462"/>
                <a:gd name="T3" fmla="*/ 101 h 1428"/>
                <a:gd name="T4" fmla="*/ 1109 w 1462"/>
                <a:gd name="T5" fmla="*/ 114 h 1428"/>
                <a:gd name="T6" fmla="*/ 1101 w 1462"/>
                <a:gd name="T7" fmla="*/ 129 h 1428"/>
                <a:gd name="T8" fmla="*/ 1090 w 1462"/>
                <a:gd name="T9" fmla="*/ 149 h 1428"/>
                <a:gd name="T10" fmla="*/ 1075 w 1462"/>
                <a:gd name="T11" fmla="*/ 177 h 1428"/>
                <a:gd name="T12" fmla="*/ 1060 w 1462"/>
                <a:gd name="T13" fmla="*/ 204 h 1428"/>
                <a:gd name="T14" fmla="*/ 1045 w 1462"/>
                <a:gd name="T15" fmla="*/ 232 h 1428"/>
                <a:gd name="T16" fmla="*/ 1029 w 1462"/>
                <a:gd name="T17" fmla="*/ 262 h 1428"/>
                <a:gd name="T18" fmla="*/ 1014 w 1462"/>
                <a:gd name="T19" fmla="*/ 290 h 1428"/>
                <a:gd name="T20" fmla="*/ 999 w 1462"/>
                <a:gd name="T21" fmla="*/ 318 h 1428"/>
                <a:gd name="T22" fmla="*/ 983 w 1462"/>
                <a:gd name="T23" fmla="*/ 346 h 1428"/>
                <a:gd name="T24" fmla="*/ 968 w 1462"/>
                <a:gd name="T25" fmla="*/ 375 h 1428"/>
                <a:gd name="T26" fmla="*/ 953 w 1462"/>
                <a:gd name="T27" fmla="*/ 403 h 1428"/>
                <a:gd name="T28" fmla="*/ 938 w 1462"/>
                <a:gd name="T29" fmla="*/ 431 h 1428"/>
                <a:gd name="T30" fmla="*/ 923 w 1462"/>
                <a:gd name="T31" fmla="*/ 459 h 1428"/>
                <a:gd name="T32" fmla="*/ 907 w 1462"/>
                <a:gd name="T33" fmla="*/ 489 h 1428"/>
                <a:gd name="T34" fmla="*/ 892 w 1462"/>
                <a:gd name="T35" fmla="*/ 517 h 1428"/>
                <a:gd name="T36" fmla="*/ 877 w 1462"/>
                <a:gd name="T37" fmla="*/ 546 h 1428"/>
                <a:gd name="T38" fmla="*/ 862 w 1462"/>
                <a:gd name="T39" fmla="*/ 574 h 1428"/>
                <a:gd name="T40" fmla="*/ 847 w 1462"/>
                <a:gd name="T41" fmla="*/ 602 h 1428"/>
                <a:gd name="T42" fmla="*/ 832 w 1462"/>
                <a:gd name="T43" fmla="*/ 630 h 1428"/>
                <a:gd name="T44" fmla="*/ 816 w 1462"/>
                <a:gd name="T45" fmla="*/ 660 h 1428"/>
                <a:gd name="T46" fmla="*/ 801 w 1462"/>
                <a:gd name="T47" fmla="*/ 688 h 1428"/>
                <a:gd name="T48" fmla="*/ 675 w 1462"/>
                <a:gd name="T49" fmla="*/ 639 h 1428"/>
                <a:gd name="T50" fmla="*/ 691 w 1462"/>
                <a:gd name="T51" fmla="*/ 613 h 1428"/>
                <a:gd name="T52" fmla="*/ 705 w 1462"/>
                <a:gd name="T53" fmla="*/ 592 h 1428"/>
                <a:gd name="T54" fmla="*/ 722 w 1462"/>
                <a:gd name="T55" fmla="*/ 564 h 1428"/>
                <a:gd name="T56" fmla="*/ 740 w 1462"/>
                <a:gd name="T57" fmla="*/ 537 h 1428"/>
                <a:gd name="T58" fmla="*/ 757 w 1462"/>
                <a:gd name="T59" fmla="*/ 509 h 1428"/>
                <a:gd name="T60" fmla="*/ 774 w 1462"/>
                <a:gd name="T61" fmla="*/ 481 h 1428"/>
                <a:gd name="T62" fmla="*/ 791 w 1462"/>
                <a:gd name="T63" fmla="*/ 455 h 1428"/>
                <a:gd name="T64" fmla="*/ 808 w 1462"/>
                <a:gd name="T65" fmla="*/ 428 h 1428"/>
                <a:gd name="T66" fmla="*/ 825 w 1462"/>
                <a:gd name="T67" fmla="*/ 400 h 1428"/>
                <a:gd name="T68" fmla="*/ 842 w 1462"/>
                <a:gd name="T69" fmla="*/ 372 h 1428"/>
                <a:gd name="T70" fmla="*/ 860 w 1462"/>
                <a:gd name="T71" fmla="*/ 344 h 1428"/>
                <a:gd name="T72" fmla="*/ 872 w 1462"/>
                <a:gd name="T73" fmla="*/ 324 h 1428"/>
                <a:gd name="T74" fmla="*/ 889 w 1462"/>
                <a:gd name="T75" fmla="*/ 296 h 1428"/>
                <a:gd name="T76" fmla="*/ 907 w 1462"/>
                <a:gd name="T77" fmla="*/ 269 h 1428"/>
                <a:gd name="T78" fmla="*/ 924 w 1462"/>
                <a:gd name="T79" fmla="*/ 241 h 1428"/>
                <a:gd name="T80" fmla="*/ 936 w 1462"/>
                <a:gd name="T81" fmla="*/ 221 h 1428"/>
                <a:gd name="T82" fmla="*/ 953 w 1462"/>
                <a:gd name="T83" fmla="*/ 193 h 1428"/>
                <a:gd name="T84" fmla="*/ 970 w 1462"/>
                <a:gd name="T85" fmla="*/ 165 h 1428"/>
                <a:gd name="T86" fmla="*/ 985 w 1462"/>
                <a:gd name="T87" fmla="*/ 140 h 1428"/>
                <a:gd name="T88" fmla="*/ 1000 w 1462"/>
                <a:gd name="T89" fmla="*/ 116 h 1428"/>
                <a:gd name="T90" fmla="*/ 1017 w 1462"/>
                <a:gd name="T91" fmla="*/ 89 h 1428"/>
                <a:gd name="T92" fmla="*/ 1033 w 1462"/>
                <a:gd name="T93" fmla="*/ 61 h 1428"/>
                <a:gd name="T94" fmla="*/ 1041 w 1462"/>
                <a:gd name="T95" fmla="*/ 49 h 1428"/>
                <a:gd name="T96" fmla="*/ 1050 w 1462"/>
                <a:gd name="T97" fmla="*/ 34 h 1428"/>
                <a:gd name="T98" fmla="*/ 845 w 1462"/>
                <a:gd name="T99" fmla="*/ 700 h 1428"/>
                <a:gd name="T100" fmla="*/ 830 w 1462"/>
                <a:gd name="T101" fmla="*/ 728 h 1428"/>
                <a:gd name="T102" fmla="*/ 290 w 1462"/>
                <a:gd name="T103" fmla="*/ 1220 h 1428"/>
                <a:gd name="T104" fmla="*/ 377 w 1462"/>
                <a:gd name="T105" fmla="*/ 1073 h 1428"/>
                <a:gd name="T106" fmla="*/ 396 w 1462"/>
                <a:gd name="T107" fmla="*/ 1073 h 1428"/>
                <a:gd name="T108" fmla="*/ 483 w 1462"/>
                <a:gd name="T109" fmla="*/ 1220 h 1428"/>
                <a:gd name="T110" fmla="*/ 608 w 1462"/>
                <a:gd name="T111" fmla="*/ 1078 h 1428"/>
                <a:gd name="T112" fmla="*/ 726 w 1462"/>
                <a:gd name="T113" fmla="*/ 955 h 1428"/>
                <a:gd name="T114" fmla="*/ 745 w 1462"/>
                <a:gd name="T115" fmla="*/ 959 h 1428"/>
                <a:gd name="T116" fmla="*/ 757 w 1462"/>
                <a:gd name="T117" fmla="*/ 1044 h 1428"/>
                <a:gd name="T118" fmla="*/ 1057 w 1462"/>
                <a:gd name="T119" fmla="*/ 846 h 1428"/>
                <a:gd name="T120" fmla="*/ 1071 w 1462"/>
                <a:gd name="T121" fmla="*/ 839 h 1428"/>
                <a:gd name="T122" fmla="*/ 1090 w 1462"/>
                <a:gd name="T123" fmla="*/ 843 h 1428"/>
                <a:gd name="T124" fmla="*/ 1462 w 1462"/>
                <a:gd name="T125" fmla="*/ 698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28">
                  <a:moveTo>
                    <a:pt x="1131" y="75"/>
                  </a:moveTo>
                  <a:cubicBezTo>
                    <a:pt x="1131" y="76"/>
                    <a:pt x="1131" y="76"/>
                    <a:pt x="1130" y="76"/>
                  </a:cubicBezTo>
                  <a:cubicBezTo>
                    <a:pt x="1130" y="77"/>
                    <a:pt x="1130" y="78"/>
                    <a:pt x="1129" y="78"/>
                  </a:cubicBezTo>
                  <a:cubicBezTo>
                    <a:pt x="1129" y="79"/>
                    <a:pt x="1129" y="79"/>
                    <a:pt x="1129" y="79"/>
                  </a:cubicBezTo>
                  <a:cubicBezTo>
                    <a:pt x="1128" y="80"/>
                    <a:pt x="1128" y="81"/>
                    <a:pt x="1128" y="81"/>
                  </a:cubicBezTo>
                  <a:cubicBezTo>
                    <a:pt x="1127" y="82"/>
                    <a:pt x="1127" y="82"/>
                    <a:pt x="1127" y="82"/>
                  </a:cubicBezTo>
                  <a:cubicBezTo>
                    <a:pt x="1127" y="83"/>
                    <a:pt x="1126" y="84"/>
                    <a:pt x="1126" y="84"/>
                  </a:cubicBezTo>
                  <a:cubicBezTo>
                    <a:pt x="1126" y="85"/>
                    <a:pt x="1125" y="85"/>
                    <a:pt x="1125" y="85"/>
                  </a:cubicBezTo>
                  <a:cubicBezTo>
                    <a:pt x="1125" y="86"/>
                    <a:pt x="1125" y="87"/>
                    <a:pt x="1124" y="87"/>
                  </a:cubicBezTo>
                  <a:cubicBezTo>
                    <a:pt x="1124" y="88"/>
                    <a:pt x="1124" y="88"/>
                    <a:pt x="1124" y="89"/>
                  </a:cubicBezTo>
                  <a:cubicBezTo>
                    <a:pt x="1123" y="89"/>
                    <a:pt x="1123" y="90"/>
                    <a:pt x="1123" y="90"/>
                  </a:cubicBezTo>
                  <a:cubicBezTo>
                    <a:pt x="1122" y="91"/>
                    <a:pt x="1122" y="91"/>
                    <a:pt x="1122" y="92"/>
                  </a:cubicBezTo>
                  <a:cubicBezTo>
                    <a:pt x="1122" y="92"/>
                    <a:pt x="1121" y="93"/>
                    <a:pt x="1121" y="93"/>
                  </a:cubicBezTo>
                  <a:cubicBezTo>
                    <a:pt x="1121" y="94"/>
                    <a:pt x="1120" y="94"/>
                    <a:pt x="1120" y="95"/>
                  </a:cubicBezTo>
                  <a:cubicBezTo>
                    <a:pt x="1120" y="95"/>
                    <a:pt x="1120" y="96"/>
                    <a:pt x="1119" y="96"/>
                  </a:cubicBezTo>
                  <a:cubicBezTo>
                    <a:pt x="1119" y="97"/>
                    <a:pt x="1119" y="97"/>
                    <a:pt x="1118" y="98"/>
                  </a:cubicBezTo>
                  <a:cubicBezTo>
                    <a:pt x="1118" y="98"/>
                    <a:pt x="1118" y="99"/>
                    <a:pt x="1118" y="99"/>
                  </a:cubicBezTo>
                  <a:cubicBezTo>
                    <a:pt x="1117" y="100"/>
                    <a:pt x="1117" y="100"/>
                    <a:pt x="1117" y="101"/>
                  </a:cubicBezTo>
                  <a:cubicBezTo>
                    <a:pt x="1116" y="101"/>
                    <a:pt x="1116" y="102"/>
                    <a:pt x="1116" y="102"/>
                  </a:cubicBezTo>
                  <a:cubicBezTo>
                    <a:pt x="1116" y="103"/>
                    <a:pt x="1115" y="103"/>
                    <a:pt x="1115" y="104"/>
                  </a:cubicBezTo>
                  <a:cubicBezTo>
                    <a:pt x="1115" y="104"/>
                    <a:pt x="1115" y="105"/>
                    <a:pt x="1114" y="105"/>
                  </a:cubicBezTo>
                  <a:cubicBezTo>
                    <a:pt x="1114" y="106"/>
                    <a:pt x="1114" y="106"/>
                    <a:pt x="1113" y="107"/>
                  </a:cubicBezTo>
                  <a:cubicBezTo>
                    <a:pt x="1113" y="107"/>
                    <a:pt x="1113" y="108"/>
                    <a:pt x="1113" y="108"/>
                  </a:cubicBezTo>
                  <a:cubicBezTo>
                    <a:pt x="1112" y="109"/>
                    <a:pt x="1112" y="110"/>
                    <a:pt x="1112" y="110"/>
                  </a:cubicBezTo>
                  <a:cubicBezTo>
                    <a:pt x="1111" y="111"/>
                    <a:pt x="1111" y="111"/>
                    <a:pt x="1111" y="111"/>
                  </a:cubicBezTo>
                  <a:cubicBezTo>
                    <a:pt x="1111" y="112"/>
                    <a:pt x="1110" y="113"/>
                    <a:pt x="1110" y="113"/>
                  </a:cubicBezTo>
                  <a:cubicBezTo>
                    <a:pt x="1110" y="114"/>
                    <a:pt x="1110" y="114"/>
                    <a:pt x="1109" y="114"/>
                  </a:cubicBezTo>
                  <a:cubicBezTo>
                    <a:pt x="1109" y="115"/>
                    <a:pt x="1109" y="116"/>
                    <a:pt x="1108" y="116"/>
                  </a:cubicBezTo>
                  <a:cubicBezTo>
                    <a:pt x="1108" y="117"/>
                    <a:pt x="1108" y="117"/>
                    <a:pt x="1108" y="117"/>
                  </a:cubicBezTo>
                  <a:cubicBezTo>
                    <a:pt x="1107" y="118"/>
                    <a:pt x="1107" y="119"/>
                    <a:pt x="1106" y="120"/>
                  </a:cubicBezTo>
                  <a:cubicBezTo>
                    <a:pt x="1106" y="120"/>
                    <a:pt x="1106" y="120"/>
                    <a:pt x="1106" y="120"/>
                  </a:cubicBezTo>
                  <a:cubicBezTo>
                    <a:pt x="1106" y="121"/>
                    <a:pt x="1105" y="122"/>
                    <a:pt x="1105" y="123"/>
                  </a:cubicBezTo>
                  <a:cubicBezTo>
                    <a:pt x="1105" y="123"/>
                    <a:pt x="1105" y="123"/>
                    <a:pt x="1105" y="123"/>
                  </a:cubicBezTo>
                  <a:cubicBezTo>
                    <a:pt x="1104" y="124"/>
                    <a:pt x="1104" y="125"/>
                    <a:pt x="1103" y="126"/>
                  </a:cubicBezTo>
                  <a:cubicBezTo>
                    <a:pt x="1103" y="126"/>
                    <a:pt x="1103" y="126"/>
                    <a:pt x="1103" y="126"/>
                  </a:cubicBezTo>
                  <a:cubicBezTo>
                    <a:pt x="1102" y="127"/>
                    <a:pt x="1102" y="128"/>
                    <a:pt x="1101" y="129"/>
                  </a:cubicBezTo>
                  <a:cubicBezTo>
                    <a:pt x="1101" y="129"/>
                    <a:pt x="1101" y="129"/>
                    <a:pt x="1101" y="129"/>
                  </a:cubicBezTo>
                  <a:cubicBezTo>
                    <a:pt x="1101" y="130"/>
                    <a:pt x="1100" y="131"/>
                    <a:pt x="1100" y="132"/>
                  </a:cubicBezTo>
                  <a:cubicBezTo>
                    <a:pt x="1100" y="132"/>
                    <a:pt x="1100" y="132"/>
                    <a:pt x="1100" y="132"/>
                  </a:cubicBezTo>
                  <a:cubicBezTo>
                    <a:pt x="1099" y="133"/>
                    <a:pt x="1098" y="134"/>
                    <a:pt x="1098" y="135"/>
                  </a:cubicBezTo>
                  <a:cubicBezTo>
                    <a:pt x="1098" y="135"/>
                    <a:pt x="1098" y="135"/>
                    <a:pt x="1098" y="135"/>
                  </a:cubicBezTo>
                  <a:cubicBezTo>
                    <a:pt x="1097" y="137"/>
                    <a:pt x="1096" y="138"/>
                    <a:pt x="1096" y="139"/>
                  </a:cubicBezTo>
                  <a:cubicBezTo>
                    <a:pt x="1095" y="140"/>
                    <a:pt x="1094" y="141"/>
                    <a:pt x="1094" y="142"/>
                  </a:cubicBezTo>
                  <a:cubicBezTo>
                    <a:pt x="1093" y="143"/>
                    <a:pt x="1093" y="145"/>
                    <a:pt x="1092" y="146"/>
                  </a:cubicBezTo>
                  <a:cubicBezTo>
                    <a:pt x="1092" y="147"/>
                    <a:pt x="1091" y="148"/>
                    <a:pt x="1090" y="149"/>
                  </a:cubicBezTo>
                  <a:cubicBezTo>
                    <a:pt x="1090" y="150"/>
                    <a:pt x="1089" y="151"/>
                    <a:pt x="1089" y="152"/>
                  </a:cubicBezTo>
                  <a:cubicBezTo>
                    <a:pt x="1088" y="153"/>
                    <a:pt x="1088" y="154"/>
                    <a:pt x="1087" y="155"/>
                  </a:cubicBezTo>
                  <a:cubicBezTo>
                    <a:pt x="1087" y="156"/>
                    <a:pt x="1086" y="157"/>
                    <a:pt x="1085" y="158"/>
                  </a:cubicBezTo>
                  <a:cubicBezTo>
                    <a:pt x="1085" y="159"/>
                    <a:pt x="1084" y="160"/>
                    <a:pt x="1084" y="161"/>
                  </a:cubicBezTo>
                  <a:cubicBezTo>
                    <a:pt x="1083" y="162"/>
                    <a:pt x="1083" y="163"/>
                    <a:pt x="1082" y="164"/>
                  </a:cubicBezTo>
                  <a:cubicBezTo>
                    <a:pt x="1081" y="165"/>
                    <a:pt x="1081" y="166"/>
                    <a:pt x="1080" y="167"/>
                  </a:cubicBezTo>
                  <a:cubicBezTo>
                    <a:pt x="1080" y="168"/>
                    <a:pt x="1079" y="169"/>
                    <a:pt x="1079" y="170"/>
                  </a:cubicBezTo>
                  <a:cubicBezTo>
                    <a:pt x="1078" y="171"/>
                    <a:pt x="1077" y="172"/>
                    <a:pt x="1077" y="173"/>
                  </a:cubicBezTo>
                  <a:cubicBezTo>
                    <a:pt x="1076" y="175"/>
                    <a:pt x="1076" y="176"/>
                    <a:pt x="1075" y="177"/>
                  </a:cubicBezTo>
                  <a:cubicBezTo>
                    <a:pt x="1075" y="178"/>
                    <a:pt x="1074" y="179"/>
                    <a:pt x="1073" y="180"/>
                  </a:cubicBezTo>
                  <a:cubicBezTo>
                    <a:pt x="1073" y="181"/>
                    <a:pt x="1072" y="182"/>
                    <a:pt x="1072" y="183"/>
                  </a:cubicBezTo>
                  <a:cubicBezTo>
                    <a:pt x="1071" y="184"/>
                    <a:pt x="1071" y="185"/>
                    <a:pt x="1070" y="186"/>
                  </a:cubicBezTo>
                  <a:cubicBezTo>
                    <a:pt x="1070" y="187"/>
                    <a:pt x="1069" y="188"/>
                    <a:pt x="1068" y="189"/>
                  </a:cubicBezTo>
                  <a:cubicBezTo>
                    <a:pt x="1068" y="190"/>
                    <a:pt x="1067" y="191"/>
                    <a:pt x="1067" y="192"/>
                  </a:cubicBezTo>
                  <a:cubicBezTo>
                    <a:pt x="1066" y="193"/>
                    <a:pt x="1066" y="194"/>
                    <a:pt x="1065" y="195"/>
                  </a:cubicBezTo>
                  <a:cubicBezTo>
                    <a:pt x="1064" y="196"/>
                    <a:pt x="1064" y="197"/>
                    <a:pt x="1063" y="198"/>
                  </a:cubicBezTo>
                  <a:cubicBezTo>
                    <a:pt x="1063" y="199"/>
                    <a:pt x="1062" y="200"/>
                    <a:pt x="1062" y="201"/>
                  </a:cubicBezTo>
                  <a:cubicBezTo>
                    <a:pt x="1061" y="202"/>
                    <a:pt x="1060" y="203"/>
                    <a:pt x="1060" y="204"/>
                  </a:cubicBezTo>
                  <a:cubicBezTo>
                    <a:pt x="1059" y="206"/>
                    <a:pt x="1059" y="207"/>
                    <a:pt x="1058" y="208"/>
                  </a:cubicBezTo>
                  <a:cubicBezTo>
                    <a:pt x="1058" y="209"/>
                    <a:pt x="1057" y="210"/>
                    <a:pt x="1057" y="211"/>
                  </a:cubicBezTo>
                  <a:cubicBezTo>
                    <a:pt x="1056" y="212"/>
                    <a:pt x="1055" y="213"/>
                    <a:pt x="1055" y="214"/>
                  </a:cubicBezTo>
                  <a:cubicBezTo>
                    <a:pt x="1054" y="215"/>
                    <a:pt x="1054" y="216"/>
                    <a:pt x="1053" y="217"/>
                  </a:cubicBezTo>
                  <a:cubicBezTo>
                    <a:pt x="1053" y="218"/>
                    <a:pt x="1052" y="219"/>
                    <a:pt x="1051" y="220"/>
                  </a:cubicBezTo>
                  <a:cubicBezTo>
                    <a:pt x="1051" y="221"/>
                    <a:pt x="1050" y="222"/>
                    <a:pt x="1050" y="223"/>
                  </a:cubicBezTo>
                  <a:cubicBezTo>
                    <a:pt x="1049" y="224"/>
                    <a:pt x="1049" y="225"/>
                    <a:pt x="1048" y="226"/>
                  </a:cubicBezTo>
                  <a:cubicBezTo>
                    <a:pt x="1048" y="227"/>
                    <a:pt x="1047" y="228"/>
                    <a:pt x="1046" y="229"/>
                  </a:cubicBezTo>
                  <a:cubicBezTo>
                    <a:pt x="1046" y="230"/>
                    <a:pt x="1045" y="231"/>
                    <a:pt x="1045" y="232"/>
                  </a:cubicBezTo>
                  <a:cubicBezTo>
                    <a:pt x="1044" y="233"/>
                    <a:pt x="1044" y="235"/>
                    <a:pt x="1043" y="236"/>
                  </a:cubicBezTo>
                  <a:cubicBezTo>
                    <a:pt x="1042" y="237"/>
                    <a:pt x="1041" y="239"/>
                    <a:pt x="1041" y="240"/>
                  </a:cubicBezTo>
                  <a:cubicBezTo>
                    <a:pt x="1040" y="241"/>
                    <a:pt x="1040" y="242"/>
                    <a:pt x="1039" y="243"/>
                  </a:cubicBezTo>
                  <a:cubicBezTo>
                    <a:pt x="1038" y="244"/>
                    <a:pt x="1038" y="245"/>
                    <a:pt x="1037" y="246"/>
                  </a:cubicBezTo>
                  <a:cubicBezTo>
                    <a:pt x="1037" y="247"/>
                    <a:pt x="1036" y="248"/>
                    <a:pt x="1036" y="249"/>
                  </a:cubicBezTo>
                  <a:cubicBezTo>
                    <a:pt x="1035" y="250"/>
                    <a:pt x="1034" y="251"/>
                    <a:pt x="1034" y="252"/>
                  </a:cubicBezTo>
                  <a:cubicBezTo>
                    <a:pt x="1033" y="253"/>
                    <a:pt x="1033" y="255"/>
                    <a:pt x="1032" y="256"/>
                  </a:cubicBezTo>
                  <a:cubicBezTo>
                    <a:pt x="1032" y="257"/>
                    <a:pt x="1031" y="258"/>
                    <a:pt x="1030" y="259"/>
                  </a:cubicBezTo>
                  <a:cubicBezTo>
                    <a:pt x="1030" y="260"/>
                    <a:pt x="1029" y="261"/>
                    <a:pt x="1029" y="262"/>
                  </a:cubicBezTo>
                  <a:cubicBezTo>
                    <a:pt x="1028" y="263"/>
                    <a:pt x="1028" y="264"/>
                    <a:pt x="1027" y="265"/>
                  </a:cubicBezTo>
                  <a:cubicBezTo>
                    <a:pt x="1027" y="266"/>
                    <a:pt x="1026" y="267"/>
                    <a:pt x="1025" y="268"/>
                  </a:cubicBezTo>
                  <a:cubicBezTo>
                    <a:pt x="1025" y="269"/>
                    <a:pt x="1024" y="270"/>
                    <a:pt x="1024" y="271"/>
                  </a:cubicBezTo>
                  <a:cubicBezTo>
                    <a:pt x="1023" y="272"/>
                    <a:pt x="1023" y="273"/>
                    <a:pt x="1022" y="274"/>
                  </a:cubicBezTo>
                  <a:cubicBezTo>
                    <a:pt x="1022" y="275"/>
                    <a:pt x="1021" y="276"/>
                    <a:pt x="1020" y="277"/>
                  </a:cubicBezTo>
                  <a:cubicBezTo>
                    <a:pt x="1020" y="278"/>
                    <a:pt x="1019" y="279"/>
                    <a:pt x="1019" y="280"/>
                  </a:cubicBezTo>
                  <a:cubicBezTo>
                    <a:pt x="1018" y="281"/>
                    <a:pt x="1018" y="282"/>
                    <a:pt x="1017" y="284"/>
                  </a:cubicBezTo>
                  <a:cubicBezTo>
                    <a:pt x="1016" y="285"/>
                    <a:pt x="1016" y="286"/>
                    <a:pt x="1015" y="287"/>
                  </a:cubicBezTo>
                  <a:cubicBezTo>
                    <a:pt x="1015" y="288"/>
                    <a:pt x="1014" y="289"/>
                    <a:pt x="1014" y="290"/>
                  </a:cubicBezTo>
                  <a:cubicBezTo>
                    <a:pt x="1013" y="291"/>
                    <a:pt x="1013" y="292"/>
                    <a:pt x="1012" y="293"/>
                  </a:cubicBezTo>
                  <a:cubicBezTo>
                    <a:pt x="1011" y="294"/>
                    <a:pt x="1011" y="295"/>
                    <a:pt x="1010" y="296"/>
                  </a:cubicBezTo>
                  <a:cubicBezTo>
                    <a:pt x="1010" y="297"/>
                    <a:pt x="1009" y="298"/>
                    <a:pt x="1009" y="299"/>
                  </a:cubicBezTo>
                  <a:cubicBezTo>
                    <a:pt x="1008" y="300"/>
                    <a:pt x="1008" y="301"/>
                    <a:pt x="1007" y="302"/>
                  </a:cubicBezTo>
                  <a:cubicBezTo>
                    <a:pt x="1006" y="303"/>
                    <a:pt x="1006" y="304"/>
                    <a:pt x="1005" y="305"/>
                  </a:cubicBezTo>
                  <a:cubicBezTo>
                    <a:pt x="1005" y="306"/>
                    <a:pt x="1004" y="307"/>
                    <a:pt x="1004" y="308"/>
                  </a:cubicBezTo>
                  <a:cubicBezTo>
                    <a:pt x="1003" y="309"/>
                    <a:pt x="1002" y="310"/>
                    <a:pt x="1002" y="311"/>
                  </a:cubicBezTo>
                  <a:cubicBezTo>
                    <a:pt x="1001" y="313"/>
                    <a:pt x="1001" y="314"/>
                    <a:pt x="1000" y="315"/>
                  </a:cubicBezTo>
                  <a:cubicBezTo>
                    <a:pt x="1000" y="316"/>
                    <a:pt x="999" y="317"/>
                    <a:pt x="999" y="318"/>
                  </a:cubicBezTo>
                  <a:cubicBezTo>
                    <a:pt x="998" y="319"/>
                    <a:pt x="997" y="320"/>
                    <a:pt x="997" y="321"/>
                  </a:cubicBezTo>
                  <a:cubicBezTo>
                    <a:pt x="996" y="322"/>
                    <a:pt x="996" y="323"/>
                    <a:pt x="995" y="324"/>
                  </a:cubicBezTo>
                  <a:cubicBezTo>
                    <a:pt x="995" y="325"/>
                    <a:pt x="994" y="326"/>
                    <a:pt x="994" y="327"/>
                  </a:cubicBezTo>
                  <a:cubicBezTo>
                    <a:pt x="993" y="328"/>
                    <a:pt x="992" y="329"/>
                    <a:pt x="992" y="330"/>
                  </a:cubicBezTo>
                  <a:cubicBezTo>
                    <a:pt x="991" y="331"/>
                    <a:pt x="991" y="332"/>
                    <a:pt x="990" y="333"/>
                  </a:cubicBezTo>
                  <a:cubicBezTo>
                    <a:pt x="990" y="334"/>
                    <a:pt x="989" y="335"/>
                    <a:pt x="988" y="336"/>
                  </a:cubicBezTo>
                  <a:cubicBezTo>
                    <a:pt x="988" y="337"/>
                    <a:pt x="987" y="338"/>
                    <a:pt x="987" y="339"/>
                  </a:cubicBezTo>
                  <a:cubicBezTo>
                    <a:pt x="986" y="341"/>
                    <a:pt x="986" y="342"/>
                    <a:pt x="985" y="343"/>
                  </a:cubicBezTo>
                  <a:cubicBezTo>
                    <a:pt x="985" y="344"/>
                    <a:pt x="984" y="345"/>
                    <a:pt x="983" y="346"/>
                  </a:cubicBezTo>
                  <a:cubicBezTo>
                    <a:pt x="983" y="347"/>
                    <a:pt x="982" y="348"/>
                    <a:pt x="982" y="349"/>
                  </a:cubicBezTo>
                  <a:cubicBezTo>
                    <a:pt x="981" y="350"/>
                    <a:pt x="980" y="352"/>
                    <a:pt x="979" y="353"/>
                  </a:cubicBezTo>
                  <a:cubicBezTo>
                    <a:pt x="979" y="354"/>
                    <a:pt x="978" y="356"/>
                    <a:pt x="978" y="357"/>
                  </a:cubicBezTo>
                  <a:cubicBezTo>
                    <a:pt x="977" y="358"/>
                    <a:pt x="977" y="359"/>
                    <a:pt x="976" y="360"/>
                  </a:cubicBezTo>
                  <a:cubicBezTo>
                    <a:pt x="975" y="361"/>
                    <a:pt x="975" y="362"/>
                    <a:pt x="974" y="363"/>
                  </a:cubicBezTo>
                  <a:cubicBezTo>
                    <a:pt x="974" y="364"/>
                    <a:pt x="973" y="365"/>
                    <a:pt x="973" y="366"/>
                  </a:cubicBezTo>
                  <a:cubicBezTo>
                    <a:pt x="972" y="367"/>
                    <a:pt x="972" y="368"/>
                    <a:pt x="971" y="369"/>
                  </a:cubicBezTo>
                  <a:cubicBezTo>
                    <a:pt x="970" y="370"/>
                    <a:pt x="970" y="371"/>
                    <a:pt x="969" y="372"/>
                  </a:cubicBezTo>
                  <a:cubicBezTo>
                    <a:pt x="969" y="373"/>
                    <a:pt x="968" y="374"/>
                    <a:pt x="968" y="375"/>
                  </a:cubicBezTo>
                  <a:cubicBezTo>
                    <a:pt x="967" y="376"/>
                    <a:pt x="966" y="377"/>
                    <a:pt x="966" y="378"/>
                  </a:cubicBezTo>
                  <a:cubicBezTo>
                    <a:pt x="965" y="379"/>
                    <a:pt x="965" y="381"/>
                    <a:pt x="964" y="382"/>
                  </a:cubicBezTo>
                  <a:cubicBezTo>
                    <a:pt x="964" y="383"/>
                    <a:pt x="963" y="384"/>
                    <a:pt x="963" y="385"/>
                  </a:cubicBezTo>
                  <a:cubicBezTo>
                    <a:pt x="962" y="386"/>
                    <a:pt x="961" y="387"/>
                    <a:pt x="961" y="388"/>
                  </a:cubicBezTo>
                  <a:cubicBezTo>
                    <a:pt x="960" y="389"/>
                    <a:pt x="960" y="390"/>
                    <a:pt x="959" y="391"/>
                  </a:cubicBezTo>
                  <a:cubicBezTo>
                    <a:pt x="959" y="392"/>
                    <a:pt x="958" y="393"/>
                    <a:pt x="958" y="394"/>
                  </a:cubicBezTo>
                  <a:cubicBezTo>
                    <a:pt x="957" y="395"/>
                    <a:pt x="956" y="396"/>
                    <a:pt x="956" y="397"/>
                  </a:cubicBezTo>
                  <a:cubicBezTo>
                    <a:pt x="955" y="398"/>
                    <a:pt x="955" y="399"/>
                    <a:pt x="954" y="400"/>
                  </a:cubicBezTo>
                  <a:cubicBezTo>
                    <a:pt x="954" y="401"/>
                    <a:pt x="953" y="402"/>
                    <a:pt x="953" y="403"/>
                  </a:cubicBezTo>
                  <a:cubicBezTo>
                    <a:pt x="952" y="404"/>
                    <a:pt x="951" y="405"/>
                    <a:pt x="951" y="406"/>
                  </a:cubicBezTo>
                  <a:cubicBezTo>
                    <a:pt x="950" y="408"/>
                    <a:pt x="950" y="409"/>
                    <a:pt x="949" y="410"/>
                  </a:cubicBezTo>
                  <a:cubicBezTo>
                    <a:pt x="949" y="411"/>
                    <a:pt x="948" y="412"/>
                    <a:pt x="948" y="413"/>
                  </a:cubicBezTo>
                  <a:cubicBezTo>
                    <a:pt x="947" y="414"/>
                    <a:pt x="946" y="415"/>
                    <a:pt x="946" y="416"/>
                  </a:cubicBezTo>
                  <a:cubicBezTo>
                    <a:pt x="945" y="417"/>
                    <a:pt x="945" y="418"/>
                    <a:pt x="944" y="419"/>
                  </a:cubicBezTo>
                  <a:cubicBezTo>
                    <a:pt x="944" y="420"/>
                    <a:pt x="943" y="421"/>
                    <a:pt x="943" y="422"/>
                  </a:cubicBezTo>
                  <a:cubicBezTo>
                    <a:pt x="942" y="423"/>
                    <a:pt x="941" y="424"/>
                    <a:pt x="941" y="425"/>
                  </a:cubicBezTo>
                  <a:cubicBezTo>
                    <a:pt x="940" y="426"/>
                    <a:pt x="940" y="427"/>
                    <a:pt x="939" y="428"/>
                  </a:cubicBezTo>
                  <a:cubicBezTo>
                    <a:pt x="939" y="429"/>
                    <a:pt x="938" y="430"/>
                    <a:pt x="938" y="431"/>
                  </a:cubicBezTo>
                  <a:cubicBezTo>
                    <a:pt x="937" y="432"/>
                    <a:pt x="936" y="433"/>
                    <a:pt x="936" y="434"/>
                  </a:cubicBezTo>
                  <a:cubicBezTo>
                    <a:pt x="935" y="436"/>
                    <a:pt x="935" y="437"/>
                    <a:pt x="934" y="438"/>
                  </a:cubicBezTo>
                  <a:cubicBezTo>
                    <a:pt x="934" y="439"/>
                    <a:pt x="933" y="440"/>
                    <a:pt x="933" y="441"/>
                  </a:cubicBezTo>
                  <a:cubicBezTo>
                    <a:pt x="932" y="442"/>
                    <a:pt x="931" y="443"/>
                    <a:pt x="931" y="444"/>
                  </a:cubicBezTo>
                  <a:cubicBezTo>
                    <a:pt x="930" y="445"/>
                    <a:pt x="930" y="446"/>
                    <a:pt x="929" y="447"/>
                  </a:cubicBezTo>
                  <a:cubicBezTo>
                    <a:pt x="929" y="448"/>
                    <a:pt x="928" y="449"/>
                    <a:pt x="928" y="450"/>
                  </a:cubicBezTo>
                  <a:cubicBezTo>
                    <a:pt x="927" y="451"/>
                    <a:pt x="926" y="452"/>
                    <a:pt x="926" y="453"/>
                  </a:cubicBezTo>
                  <a:cubicBezTo>
                    <a:pt x="925" y="454"/>
                    <a:pt x="925" y="455"/>
                    <a:pt x="924" y="456"/>
                  </a:cubicBezTo>
                  <a:cubicBezTo>
                    <a:pt x="924" y="457"/>
                    <a:pt x="923" y="458"/>
                    <a:pt x="923" y="459"/>
                  </a:cubicBezTo>
                  <a:cubicBezTo>
                    <a:pt x="922" y="460"/>
                    <a:pt x="921" y="461"/>
                    <a:pt x="921" y="462"/>
                  </a:cubicBezTo>
                  <a:cubicBezTo>
                    <a:pt x="920" y="464"/>
                    <a:pt x="920" y="465"/>
                    <a:pt x="919" y="466"/>
                  </a:cubicBezTo>
                  <a:cubicBezTo>
                    <a:pt x="919" y="467"/>
                    <a:pt x="918" y="468"/>
                    <a:pt x="918" y="469"/>
                  </a:cubicBezTo>
                  <a:cubicBezTo>
                    <a:pt x="917" y="470"/>
                    <a:pt x="917" y="471"/>
                    <a:pt x="916" y="472"/>
                  </a:cubicBezTo>
                  <a:cubicBezTo>
                    <a:pt x="915" y="473"/>
                    <a:pt x="915" y="474"/>
                    <a:pt x="914" y="475"/>
                  </a:cubicBezTo>
                  <a:cubicBezTo>
                    <a:pt x="914" y="476"/>
                    <a:pt x="913" y="477"/>
                    <a:pt x="913" y="478"/>
                  </a:cubicBezTo>
                  <a:cubicBezTo>
                    <a:pt x="912" y="479"/>
                    <a:pt x="912" y="480"/>
                    <a:pt x="911" y="481"/>
                  </a:cubicBezTo>
                  <a:cubicBezTo>
                    <a:pt x="910" y="483"/>
                    <a:pt x="909" y="485"/>
                    <a:pt x="908" y="486"/>
                  </a:cubicBezTo>
                  <a:cubicBezTo>
                    <a:pt x="908" y="487"/>
                    <a:pt x="907" y="488"/>
                    <a:pt x="907" y="489"/>
                  </a:cubicBezTo>
                  <a:cubicBezTo>
                    <a:pt x="906" y="490"/>
                    <a:pt x="906" y="491"/>
                    <a:pt x="905" y="492"/>
                  </a:cubicBezTo>
                  <a:cubicBezTo>
                    <a:pt x="904" y="494"/>
                    <a:pt x="904" y="495"/>
                    <a:pt x="903" y="496"/>
                  </a:cubicBezTo>
                  <a:cubicBezTo>
                    <a:pt x="903" y="497"/>
                    <a:pt x="902" y="498"/>
                    <a:pt x="902" y="499"/>
                  </a:cubicBezTo>
                  <a:cubicBezTo>
                    <a:pt x="901" y="500"/>
                    <a:pt x="901" y="501"/>
                    <a:pt x="900" y="502"/>
                  </a:cubicBezTo>
                  <a:cubicBezTo>
                    <a:pt x="899" y="503"/>
                    <a:pt x="899" y="504"/>
                    <a:pt x="898" y="505"/>
                  </a:cubicBezTo>
                  <a:cubicBezTo>
                    <a:pt x="898" y="506"/>
                    <a:pt x="897" y="507"/>
                    <a:pt x="897" y="508"/>
                  </a:cubicBezTo>
                  <a:cubicBezTo>
                    <a:pt x="896" y="509"/>
                    <a:pt x="896" y="510"/>
                    <a:pt x="895" y="511"/>
                  </a:cubicBezTo>
                  <a:cubicBezTo>
                    <a:pt x="894" y="512"/>
                    <a:pt x="894" y="513"/>
                    <a:pt x="893" y="514"/>
                  </a:cubicBezTo>
                  <a:cubicBezTo>
                    <a:pt x="893" y="515"/>
                    <a:pt x="892" y="516"/>
                    <a:pt x="892" y="517"/>
                  </a:cubicBezTo>
                  <a:cubicBezTo>
                    <a:pt x="891" y="518"/>
                    <a:pt x="891" y="520"/>
                    <a:pt x="890" y="521"/>
                  </a:cubicBezTo>
                  <a:cubicBezTo>
                    <a:pt x="889" y="522"/>
                    <a:pt x="889" y="523"/>
                    <a:pt x="888" y="524"/>
                  </a:cubicBezTo>
                  <a:cubicBezTo>
                    <a:pt x="888" y="525"/>
                    <a:pt x="887" y="526"/>
                    <a:pt x="887" y="527"/>
                  </a:cubicBezTo>
                  <a:cubicBezTo>
                    <a:pt x="886" y="528"/>
                    <a:pt x="886" y="529"/>
                    <a:pt x="885" y="530"/>
                  </a:cubicBezTo>
                  <a:cubicBezTo>
                    <a:pt x="885" y="531"/>
                    <a:pt x="884" y="532"/>
                    <a:pt x="883" y="533"/>
                  </a:cubicBezTo>
                  <a:cubicBezTo>
                    <a:pt x="883" y="534"/>
                    <a:pt x="882" y="535"/>
                    <a:pt x="882" y="536"/>
                  </a:cubicBezTo>
                  <a:cubicBezTo>
                    <a:pt x="881" y="537"/>
                    <a:pt x="881" y="538"/>
                    <a:pt x="880" y="539"/>
                  </a:cubicBezTo>
                  <a:cubicBezTo>
                    <a:pt x="880" y="540"/>
                    <a:pt x="879" y="541"/>
                    <a:pt x="878" y="542"/>
                  </a:cubicBezTo>
                  <a:cubicBezTo>
                    <a:pt x="878" y="543"/>
                    <a:pt x="877" y="544"/>
                    <a:pt x="877" y="546"/>
                  </a:cubicBezTo>
                  <a:cubicBezTo>
                    <a:pt x="876" y="547"/>
                    <a:pt x="876" y="548"/>
                    <a:pt x="875" y="549"/>
                  </a:cubicBezTo>
                  <a:cubicBezTo>
                    <a:pt x="875" y="550"/>
                    <a:pt x="874" y="551"/>
                    <a:pt x="873" y="552"/>
                  </a:cubicBezTo>
                  <a:cubicBezTo>
                    <a:pt x="873" y="553"/>
                    <a:pt x="872" y="554"/>
                    <a:pt x="872" y="555"/>
                  </a:cubicBezTo>
                  <a:cubicBezTo>
                    <a:pt x="871" y="556"/>
                    <a:pt x="871" y="557"/>
                    <a:pt x="870" y="558"/>
                  </a:cubicBezTo>
                  <a:cubicBezTo>
                    <a:pt x="870" y="559"/>
                    <a:pt x="869" y="560"/>
                    <a:pt x="868" y="561"/>
                  </a:cubicBezTo>
                  <a:cubicBezTo>
                    <a:pt x="868" y="562"/>
                    <a:pt x="867" y="563"/>
                    <a:pt x="867" y="564"/>
                  </a:cubicBezTo>
                  <a:cubicBezTo>
                    <a:pt x="866" y="565"/>
                    <a:pt x="866" y="566"/>
                    <a:pt x="865" y="567"/>
                  </a:cubicBezTo>
                  <a:cubicBezTo>
                    <a:pt x="865" y="568"/>
                    <a:pt x="864" y="569"/>
                    <a:pt x="864" y="570"/>
                  </a:cubicBezTo>
                  <a:cubicBezTo>
                    <a:pt x="863" y="572"/>
                    <a:pt x="862" y="573"/>
                    <a:pt x="862" y="574"/>
                  </a:cubicBezTo>
                  <a:cubicBezTo>
                    <a:pt x="861" y="575"/>
                    <a:pt x="861" y="576"/>
                    <a:pt x="860" y="577"/>
                  </a:cubicBezTo>
                  <a:cubicBezTo>
                    <a:pt x="860" y="578"/>
                    <a:pt x="859" y="579"/>
                    <a:pt x="859" y="580"/>
                  </a:cubicBezTo>
                  <a:cubicBezTo>
                    <a:pt x="858" y="581"/>
                    <a:pt x="857" y="582"/>
                    <a:pt x="857" y="583"/>
                  </a:cubicBezTo>
                  <a:cubicBezTo>
                    <a:pt x="856" y="584"/>
                    <a:pt x="856" y="585"/>
                    <a:pt x="855" y="586"/>
                  </a:cubicBezTo>
                  <a:cubicBezTo>
                    <a:pt x="855" y="587"/>
                    <a:pt x="854" y="588"/>
                    <a:pt x="854" y="589"/>
                  </a:cubicBezTo>
                  <a:cubicBezTo>
                    <a:pt x="853" y="590"/>
                    <a:pt x="853" y="591"/>
                    <a:pt x="852" y="592"/>
                  </a:cubicBezTo>
                  <a:cubicBezTo>
                    <a:pt x="851" y="593"/>
                    <a:pt x="851" y="594"/>
                    <a:pt x="850" y="595"/>
                  </a:cubicBezTo>
                  <a:cubicBezTo>
                    <a:pt x="850" y="596"/>
                    <a:pt x="849" y="598"/>
                    <a:pt x="849" y="599"/>
                  </a:cubicBezTo>
                  <a:cubicBezTo>
                    <a:pt x="848" y="600"/>
                    <a:pt x="848" y="601"/>
                    <a:pt x="847" y="602"/>
                  </a:cubicBezTo>
                  <a:cubicBezTo>
                    <a:pt x="846" y="603"/>
                    <a:pt x="846" y="604"/>
                    <a:pt x="845" y="605"/>
                  </a:cubicBezTo>
                  <a:cubicBezTo>
                    <a:pt x="845" y="606"/>
                    <a:pt x="844" y="607"/>
                    <a:pt x="844" y="608"/>
                  </a:cubicBezTo>
                  <a:cubicBezTo>
                    <a:pt x="843" y="609"/>
                    <a:pt x="843" y="610"/>
                    <a:pt x="842" y="611"/>
                  </a:cubicBezTo>
                  <a:cubicBezTo>
                    <a:pt x="842" y="612"/>
                    <a:pt x="841" y="613"/>
                    <a:pt x="840" y="614"/>
                  </a:cubicBezTo>
                  <a:cubicBezTo>
                    <a:pt x="840" y="615"/>
                    <a:pt x="839" y="616"/>
                    <a:pt x="839" y="617"/>
                  </a:cubicBezTo>
                  <a:cubicBezTo>
                    <a:pt x="838" y="618"/>
                    <a:pt x="838" y="619"/>
                    <a:pt x="837" y="620"/>
                  </a:cubicBezTo>
                  <a:cubicBezTo>
                    <a:pt x="837" y="621"/>
                    <a:pt x="836" y="622"/>
                    <a:pt x="835" y="623"/>
                  </a:cubicBezTo>
                  <a:cubicBezTo>
                    <a:pt x="835" y="625"/>
                    <a:pt x="834" y="626"/>
                    <a:pt x="834" y="627"/>
                  </a:cubicBezTo>
                  <a:cubicBezTo>
                    <a:pt x="833" y="628"/>
                    <a:pt x="833" y="629"/>
                    <a:pt x="832" y="630"/>
                  </a:cubicBezTo>
                  <a:cubicBezTo>
                    <a:pt x="832" y="631"/>
                    <a:pt x="831" y="632"/>
                    <a:pt x="831" y="633"/>
                  </a:cubicBezTo>
                  <a:cubicBezTo>
                    <a:pt x="830" y="634"/>
                    <a:pt x="829" y="635"/>
                    <a:pt x="829" y="636"/>
                  </a:cubicBezTo>
                  <a:cubicBezTo>
                    <a:pt x="828" y="637"/>
                    <a:pt x="828" y="638"/>
                    <a:pt x="827" y="639"/>
                  </a:cubicBezTo>
                  <a:cubicBezTo>
                    <a:pt x="826" y="641"/>
                    <a:pt x="825" y="643"/>
                    <a:pt x="824" y="645"/>
                  </a:cubicBezTo>
                  <a:cubicBezTo>
                    <a:pt x="824" y="646"/>
                    <a:pt x="823" y="647"/>
                    <a:pt x="823" y="648"/>
                  </a:cubicBezTo>
                  <a:cubicBezTo>
                    <a:pt x="822" y="649"/>
                    <a:pt x="822" y="650"/>
                    <a:pt x="821" y="651"/>
                  </a:cubicBezTo>
                  <a:cubicBezTo>
                    <a:pt x="820" y="652"/>
                    <a:pt x="820" y="653"/>
                    <a:pt x="819" y="654"/>
                  </a:cubicBezTo>
                  <a:cubicBezTo>
                    <a:pt x="819" y="655"/>
                    <a:pt x="818" y="656"/>
                    <a:pt x="818" y="657"/>
                  </a:cubicBezTo>
                  <a:cubicBezTo>
                    <a:pt x="817" y="658"/>
                    <a:pt x="817" y="659"/>
                    <a:pt x="816" y="660"/>
                  </a:cubicBezTo>
                  <a:cubicBezTo>
                    <a:pt x="816" y="661"/>
                    <a:pt x="815" y="662"/>
                    <a:pt x="814" y="663"/>
                  </a:cubicBezTo>
                  <a:cubicBezTo>
                    <a:pt x="814" y="664"/>
                    <a:pt x="813" y="666"/>
                    <a:pt x="813" y="667"/>
                  </a:cubicBezTo>
                  <a:cubicBezTo>
                    <a:pt x="812" y="668"/>
                    <a:pt x="812" y="669"/>
                    <a:pt x="811" y="670"/>
                  </a:cubicBezTo>
                  <a:cubicBezTo>
                    <a:pt x="811" y="671"/>
                    <a:pt x="810" y="672"/>
                    <a:pt x="809" y="673"/>
                  </a:cubicBezTo>
                  <a:cubicBezTo>
                    <a:pt x="809" y="674"/>
                    <a:pt x="808" y="675"/>
                    <a:pt x="808" y="676"/>
                  </a:cubicBezTo>
                  <a:cubicBezTo>
                    <a:pt x="807" y="677"/>
                    <a:pt x="807" y="678"/>
                    <a:pt x="806" y="679"/>
                  </a:cubicBezTo>
                  <a:cubicBezTo>
                    <a:pt x="806" y="680"/>
                    <a:pt x="805" y="681"/>
                    <a:pt x="805" y="682"/>
                  </a:cubicBezTo>
                  <a:cubicBezTo>
                    <a:pt x="804" y="683"/>
                    <a:pt x="803" y="684"/>
                    <a:pt x="803" y="685"/>
                  </a:cubicBezTo>
                  <a:cubicBezTo>
                    <a:pt x="802" y="686"/>
                    <a:pt x="802" y="687"/>
                    <a:pt x="801" y="688"/>
                  </a:cubicBezTo>
                  <a:cubicBezTo>
                    <a:pt x="801" y="689"/>
                    <a:pt x="800" y="691"/>
                    <a:pt x="800" y="692"/>
                  </a:cubicBezTo>
                  <a:cubicBezTo>
                    <a:pt x="799" y="693"/>
                    <a:pt x="798" y="694"/>
                    <a:pt x="798" y="695"/>
                  </a:cubicBezTo>
                  <a:cubicBezTo>
                    <a:pt x="797" y="696"/>
                    <a:pt x="797" y="697"/>
                    <a:pt x="796" y="698"/>
                  </a:cubicBezTo>
                  <a:cubicBezTo>
                    <a:pt x="796" y="699"/>
                    <a:pt x="795" y="700"/>
                    <a:pt x="795" y="701"/>
                  </a:cubicBezTo>
                  <a:cubicBezTo>
                    <a:pt x="794" y="702"/>
                    <a:pt x="794" y="703"/>
                    <a:pt x="793" y="704"/>
                  </a:cubicBezTo>
                  <a:cubicBezTo>
                    <a:pt x="792" y="705"/>
                    <a:pt x="792" y="706"/>
                    <a:pt x="791" y="707"/>
                  </a:cubicBezTo>
                  <a:cubicBezTo>
                    <a:pt x="780" y="729"/>
                    <a:pt x="757" y="745"/>
                    <a:pt x="731" y="745"/>
                  </a:cubicBezTo>
                  <a:cubicBezTo>
                    <a:pt x="694" y="745"/>
                    <a:pt x="663" y="714"/>
                    <a:pt x="663" y="677"/>
                  </a:cubicBezTo>
                  <a:cubicBezTo>
                    <a:pt x="663" y="663"/>
                    <a:pt x="668" y="650"/>
                    <a:pt x="675" y="639"/>
                  </a:cubicBezTo>
                  <a:cubicBezTo>
                    <a:pt x="676" y="638"/>
                    <a:pt x="677" y="637"/>
                    <a:pt x="677" y="636"/>
                  </a:cubicBezTo>
                  <a:cubicBezTo>
                    <a:pt x="678" y="635"/>
                    <a:pt x="679" y="634"/>
                    <a:pt x="679" y="633"/>
                  </a:cubicBezTo>
                  <a:cubicBezTo>
                    <a:pt x="680" y="632"/>
                    <a:pt x="681" y="631"/>
                    <a:pt x="681" y="630"/>
                  </a:cubicBezTo>
                  <a:cubicBezTo>
                    <a:pt x="682" y="629"/>
                    <a:pt x="682" y="627"/>
                    <a:pt x="683" y="626"/>
                  </a:cubicBezTo>
                  <a:cubicBezTo>
                    <a:pt x="684" y="625"/>
                    <a:pt x="684" y="624"/>
                    <a:pt x="685" y="623"/>
                  </a:cubicBezTo>
                  <a:cubicBezTo>
                    <a:pt x="686" y="622"/>
                    <a:pt x="686" y="621"/>
                    <a:pt x="687" y="620"/>
                  </a:cubicBezTo>
                  <a:cubicBezTo>
                    <a:pt x="688" y="619"/>
                    <a:pt x="688" y="618"/>
                    <a:pt x="689" y="617"/>
                  </a:cubicBezTo>
                  <a:cubicBezTo>
                    <a:pt x="690" y="616"/>
                    <a:pt x="690" y="615"/>
                    <a:pt x="691" y="614"/>
                  </a:cubicBezTo>
                  <a:cubicBezTo>
                    <a:pt x="691" y="614"/>
                    <a:pt x="691" y="614"/>
                    <a:pt x="691" y="613"/>
                  </a:cubicBezTo>
                  <a:cubicBezTo>
                    <a:pt x="692" y="613"/>
                    <a:pt x="692" y="612"/>
                    <a:pt x="692" y="612"/>
                  </a:cubicBezTo>
                  <a:cubicBezTo>
                    <a:pt x="692" y="612"/>
                    <a:pt x="693" y="611"/>
                    <a:pt x="693" y="611"/>
                  </a:cubicBezTo>
                  <a:cubicBezTo>
                    <a:pt x="693" y="611"/>
                    <a:pt x="693" y="611"/>
                    <a:pt x="693" y="610"/>
                  </a:cubicBezTo>
                  <a:cubicBezTo>
                    <a:pt x="694" y="609"/>
                    <a:pt x="695" y="608"/>
                    <a:pt x="695" y="607"/>
                  </a:cubicBezTo>
                  <a:cubicBezTo>
                    <a:pt x="696" y="606"/>
                    <a:pt x="697" y="605"/>
                    <a:pt x="697" y="604"/>
                  </a:cubicBezTo>
                  <a:cubicBezTo>
                    <a:pt x="698" y="603"/>
                    <a:pt x="698" y="602"/>
                    <a:pt x="699" y="601"/>
                  </a:cubicBezTo>
                  <a:cubicBezTo>
                    <a:pt x="700" y="600"/>
                    <a:pt x="700" y="599"/>
                    <a:pt x="701" y="598"/>
                  </a:cubicBezTo>
                  <a:cubicBezTo>
                    <a:pt x="702" y="597"/>
                    <a:pt x="702" y="596"/>
                    <a:pt x="703" y="595"/>
                  </a:cubicBezTo>
                  <a:cubicBezTo>
                    <a:pt x="704" y="594"/>
                    <a:pt x="704" y="593"/>
                    <a:pt x="705" y="592"/>
                  </a:cubicBezTo>
                  <a:cubicBezTo>
                    <a:pt x="706" y="591"/>
                    <a:pt x="706" y="590"/>
                    <a:pt x="707" y="589"/>
                  </a:cubicBezTo>
                  <a:cubicBezTo>
                    <a:pt x="707" y="588"/>
                    <a:pt x="708" y="587"/>
                    <a:pt x="709" y="586"/>
                  </a:cubicBezTo>
                  <a:cubicBezTo>
                    <a:pt x="709" y="585"/>
                    <a:pt x="710" y="584"/>
                    <a:pt x="711" y="583"/>
                  </a:cubicBezTo>
                  <a:cubicBezTo>
                    <a:pt x="711" y="582"/>
                    <a:pt x="712" y="581"/>
                    <a:pt x="713" y="580"/>
                  </a:cubicBezTo>
                  <a:cubicBezTo>
                    <a:pt x="713" y="579"/>
                    <a:pt x="714" y="578"/>
                    <a:pt x="715" y="577"/>
                  </a:cubicBezTo>
                  <a:cubicBezTo>
                    <a:pt x="715" y="575"/>
                    <a:pt x="716" y="574"/>
                    <a:pt x="717" y="573"/>
                  </a:cubicBezTo>
                  <a:cubicBezTo>
                    <a:pt x="717" y="572"/>
                    <a:pt x="718" y="571"/>
                    <a:pt x="718" y="570"/>
                  </a:cubicBezTo>
                  <a:cubicBezTo>
                    <a:pt x="719" y="569"/>
                    <a:pt x="720" y="568"/>
                    <a:pt x="720" y="567"/>
                  </a:cubicBezTo>
                  <a:cubicBezTo>
                    <a:pt x="721" y="566"/>
                    <a:pt x="722" y="565"/>
                    <a:pt x="722" y="564"/>
                  </a:cubicBezTo>
                  <a:cubicBezTo>
                    <a:pt x="723" y="563"/>
                    <a:pt x="724" y="562"/>
                    <a:pt x="724" y="561"/>
                  </a:cubicBezTo>
                  <a:cubicBezTo>
                    <a:pt x="725" y="560"/>
                    <a:pt x="726" y="559"/>
                    <a:pt x="726" y="558"/>
                  </a:cubicBezTo>
                  <a:cubicBezTo>
                    <a:pt x="727" y="557"/>
                    <a:pt x="727" y="556"/>
                    <a:pt x="728" y="555"/>
                  </a:cubicBezTo>
                  <a:cubicBezTo>
                    <a:pt x="729" y="554"/>
                    <a:pt x="729" y="553"/>
                    <a:pt x="730" y="552"/>
                  </a:cubicBezTo>
                  <a:cubicBezTo>
                    <a:pt x="731" y="551"/>
                    <a:pt x="731" y="550"/>
                    <a:pt x="732" y="549"/>
                  </a:cubicBezTo>
                  <a:cubicBezTo>
                    <a:pt x="733" y="548"/>
                    <a:pt x="733" y="547"/>
                    <a:pt x="734" y="546"/>
                  </a:cubicBezTo>
                  <a:cubicBezTo>
                    <a:pt x="735" y="545"/>
                    <a:pt x="735" y="544"/>
                    <a:pt x="736" y="543"/>
                  </a:cubicBezTo>
                  <a:cubicBezTo>
                    <a:pt x="736" y="542"/>
                    <a:pt x="737" y="541"/>
                    <a:pt x="738" y="540"/>
                  </a:cubicBezTo>
                  <a:cubicBezTo>
                    <a:pt x="738" y="539"/>
                    <a:pt x="739" y="538"/>
                    <a:pt x="740" y="537"/>
                  </a:cubicBezTo>
                  <a:cubicBezTo>
                    <a:pt x="740" y="535"/>
                    <a:pt x="741" y="534"/>
                    <a:pt x="742" y="533"/>
                  </a:cubicBezTo>
                  <a:cubicBezTo>
                    <a:pt x="742" y="532"/>
                    <a:pt x="743" y="531"/>
                    <a:pt x="744" y="530"/>
                  </a:cubicBezTo>
                  <a:cubicBezTo>
                    <a:pt x="744" y="529"/>
                    <a:pt x="745" y="528"/>
                    <a:pt x="746" y="527"/>
                  </a:cubicBezTo>
                  <a:cubicBezTo>
                    <a:pt x="746" y="526"/>
                    <a:pt x="747" y="525"/>
                    <a:pt x="747" y="524"/>
                  </a:cubicBezTo>
                  <a:cubicBezTo>
                    <a:pt x="748" y="523"/>
                    <a:pt x="749" y="522"/>
                    <a:pt x="749" y="521"/>
                  </a:cubicBezTo>
                  <a:cubicBezTo>
                    <a:pt x="750" y="520"/>
                    <a:pt x="751" y="519"/>
                    <a:pt x="751" y="518"/>
                  </a:cubicBezTo>
                  <a:cubicBezTo>
                    <a:pt x="752" y="517"/>
                    <a:pt x="753" y="516"/>
                    <a:pt x="753" y="515"/>
                  </a:cubicBezTo>
                  <a:cubicBezTo>
                    <a:pt x="754" y="514"/>
                    <a:pt x="754" y="513"/>
                    <a:pt x="755" y="512"/>
                  </a:cubicBezTo>
                  <a:cubicBezTo>
                    <a:pt x="756" y="511"/>
                    <a:pt x="756" y="510"/>
                    <a:pt x="757" y="509"/>
                  </a:cubicBezTo>
                  <a:cubicBezTo>
                    <a:pt x="758" y="508"/>
                    <a:pt x="758" y="507"/>
                    <a:pt x="759" y="506"/>
                  </a:cubicBezTo>
                  <a:cubicBezTo>
                    <a:pt x="760" y="505"/>
                    <a:pt x="760" y="504"/>
                    <a:pt x="761" y="503"/>
                  </a:cubicBezTo>
                  <a:cubicBezTo>
                    <a:pt x="762" y="502"/>
                    <a:pt x="762" y="501"/>
                    <a:pt x="763" y="500"/>
                  </a:cubicBezTo>
                  <a:cubicBezTo>
                    <a:pt x="763" y="499"/>
                    <a:pt x="764" y="498"/>
                    <a:pt x="765" y="497"/>
                  </a:cubicBezTo>
                  <a:cubicBezTo>
                    <a:pt x="765" y="495"/>
                    <a:pt x="766" y="494"/>
                    <a:pt x="767" y="493"/>
                  </a:cubicBezTo>
                  <a:cubicBezTo>
                    <a:pt x="767" y="492"/>
                    <a:pt x="768" y="491"/>
                    <a:pt x="769" y="490"/>
                  </a:cubicBezTo>
                  <a:cubicBezTo>
                    <a:pt x="769" y="489"/>
                    <a:pt x="770" y="488"/>
                    <a:pt x="771" y="487"/>
                  </a:cubicBezTo>
                  <a:cubicBezTo>
                    <a:pt x="771" y="486"/>
                    <a:pt x="772" y="485"/>
                    <a:pt x="772" y="484"/>
                  </a:cubicBezTo>
                  <a:cubicBezTo>
                    <a:pt x="773" y="483"/>
                    <a:pt x="774" y="482"/>
                    <a:pt x="774" y="481"/>
                  </a:cubicBezTo>
                  <a:cubicBezTo>
                    <a:pt x="775" y="480"/>
                    <a:pt x="776" y="479"/>
                    <a:pt x="776" y="478"/>
                  </a:cubicBezTo>
                  <a:cubicBezTo>
                    <a:pt x="777" y="477"/>
                    <a:pt x="778" y="476"/>
                    <a:pt x="778" y="475"/>
                  </a:cubicBezTo>
                  <a:cubicBezTo>
                    <a:pt x="779" y="474"/>
                    <a:pt x="779" y="473"/>
                    <a:pt x="780" y="472"/>
                  </a:cubicBezTo>
                  <a:cubicBezTo>
                    <a:pt x="781" y="471"/>
                    <a:pt x="781" y="470"/>
                    <a:pt x="782" y="469"/>
                  </a:cubicBezTo>
                  <a:cubicBezTo>
                    <a:pt x="783" y="468"/>
                    <a:pt x="783" y="467"/>
                    <a:pt x="784" y="466"/>
                  </a:cubicBezTo>
                  <a:cubicBezTo>
                    <a:pt x="784" y="465"/>
                    <a:pt x="785" y="465"/>
                    <a:pt x="785" y="465"/>
                  </a:cubicBezTo>
                  <a:cubicBezTo>
                    <a:pt x="785" y="463"/>
                    <a:pt x="786" y="462"/>
                    <a:pt x="787" y="461"/>
                  </a:cubicBezTo>
                  <a:cubicBezTo>
                    <a:pt x="787" y="460"/>
                    <a:pt x="788" y="459"/>
                    <a:pt x="789" y="458"/>
                  </a:cubicBezTo>
                  <a:cubicBezTo>
                    <a:pt x="789" y="457"/>
                    <a:pt x="790" y="456"/>
                    <a:pt x="791" y="455"/>
                  </a:cubicBezTo>
                  <a:cubicBezTo>
                    <a:pt x="791" y="454"/>
                    <a:pt x="792" y="453"/>
                    <a:pt x="793" y="452"/>
                  </a:cubicBezTo>
                  <a:cubicBezTo>
                    <a:pt x="793" y="451"/>
                    <a:pt x="794" y="450"/>
                    <a:pt x="794" y="449"/>
                  </a:cubicBezTo>
                  <a:cubicBezTo>
                    <a:pt x="795" y="448"/>
                    <a:pt x="796" y="447"/>
                    <a:pt x="796" y="446"/>
                  </a:cubicBezTo>
                  <a:cubicBezTo>
                    <a:pt x="797" y="445"/>
                    <a:pt x="798" y="444"/>
                    <a:pt x="798" y="443"/>
                  </a:cubicBezTo>
                  <a:cubicBezTo>
                    <a:pt x="799" y="442"/>
                    <a:pt x="800" y="441"/>
                    <a:pt x="800" y="440"/>
                  </a:cubicBezTo>
                  <a:cubicBezTo>
                    <a:pt x="801" y="439"/>
                    <a:pt x="801" y="438"/>
                    <a:pt x="802" y="437"/>
                  </a:cubicBezTo>
                  <a:cubicBezTo>
                    <a:pt x="803" y="436"/>
                    <a:pt x="803" y="435"/>
                    <a:pt x="804" y="434"/>
                  </a:cubicBezTo>
                  <a:cubicBezTo>
                    <a:pt x="805" y="433"/>
                    <a:pt x="805" y="432"/>
                    <a:pt x="806" y="431"/>
                  </a:cubicBezTo>
                  <a:cubicBezTo>
                    <a:pt x="807" y="430"/>
                    <a:pt x="807" y="429"/>
                    <a:pt x="808" y="428"/>
                  </a:cubicBezTo>
                  <a:cubicBezTo>
                    <a:pt x="809" y="426"/>
                    <a:pt x="809" y="425"/>
                    <a:pt x="810" y="424"/>
                  </a:cubicBezTo>
                  <a:cubicBezTo>
                    <a:pt x="810" y="423"/>
                    <a:pt x="811" y="422"/>
                    <a:pt x="812" y="421"/>
                  </a:cubicBezTo>
                  <a:cubicBezTo>
                    <a:pt x="812" y="420"/>
                    <a:pt x="813" y="419"/>
                    <a:pt x="814" y="418"/>
                  </a:cubicBezTo>
                  <a:cubicBezTo>
                    <a:pt x="814" y="417"/>
                    <a:pt x="815" y="416"/>
                    <a:pt x="816" y="415"/>
                  </a:cubicBezTo>
                  <a:cubicBezTo>
                    <a:pt x="816" y="414"/>
                    <a:pt x="817" y="413"/>
                    <a:pt x="818" y="412"/>
                  </a:cubicBezTo>
                  <a:cubicBezTo>
                    <a:pt x="818" y="411"/>
                    <a:pt x="819" y="410"/>
                    <a:pt x="819" y="409"/>
                  </a:cubicBezTo>
                  <a:cubicBezTo>
                    <a:pt x="820" y="408"/>
                    <a:pt x="821" y="407"/>
                    <a:pt x="821" y="406"/>
                  </a:cubicBezTo>
                  <a:cubicBezTo>
                    <a:pt x="822" y="405"/>
                    <a:pt x="823" y="404"/>
                    <a:pt x="823" y="403"/>
                  </a:cubicBezTo>
                  <a:cubicBezTo>
                    <a:pt x="824" y="402"/>
                    <a:pt x="825" y="401"/>
                    <a:pt x="825" y="400"/>
                  </a:cubicBezTo>
                  <a:cubicBezTo>
                    <a:pt x="826" y="399"/>
                    <a:pt x="826" y="398"/>
                    <a:pt x="827" y="397"/>
                  </a:cubicBezTo>
                  <a:cubicBezTo>
                    <a:pt x="828" y="396"/>
                    <a:pt x="828" y="395"/>
                    <a:pt x="829" y="394"/>
                  </a:cubicBezTo>
                  <a:cubicBezTo>
                    <a:pt x="830" y="393"/>
                    <a:pt x="830" y="392"/>
                    <a:pt x="831" y="391"/>
                  </a:cubicBezTo>
                  <a:cubicBezTo>
                    <a:pt x="832" y="390"/>
                    <a:pt x="832" y="389"/>
                    <a:pt x="833" y="388"/>
                  </a:cubicBezTo>
                  <a:cubicBezTo>
                    <a:pt x="833" y="386"/>
                    <a:pt x="834" y="385"/>
                    <a:pt x="835" y="384"/>
                  </a:cubicBezTo>
                  <a:cubicBezTo>
                    <a:pt x="835" y="383"/>
                    <a:pt x="836" y="382"/>
                    <a:pt x="837" y="381"/>
                  </a:cubicBezTo>
                  <a:cubicBezTo>
                    <a:pt x="837" y="380"/>
                    <a:pt x="838" y="379"/>
                    <a:pt x="839" y="378"/>
                  </a:cubicBezTo>
                  <a:cubicBezTo>
                    <a:pt x="839" y="377"/>
                    <a:pt x="840" y="376"/>
                    <a:pt x="841" y="375"/>
                  </a:cubicBezTo>
                  <a:cubicBezTo>
                    <a:pt x="841" y="374"/>
                    <a:pt x="842" y="373"/>
                    <a:pt x="842" y="372"/>
                  </a:cubicBezTo>
                  <a:cubicBezTo>
                    <a:pt x="843" y="371"/>
                    <a:pt x="844" y="370"/>
                    <a:pt x="844" y="369"/>
                  </a:cubicBezTo>
                  <a:cubicBezTo>
                    <a:pt x="845" y="368"/>
                    <a:pt x="846" y="367"/>
                    <a:pt x="846" y="366"/>
                  </a:cubicBezTo>
                  <a:cubicBezTo>
                    <a:pt x="847" y="365"/>
                    <a:pt x="848" y="364"/>
                    <a:pt x="848" y="363"/>
                  </a:cubicBezTo>
                  <a:cubicBezTo>
                    <a:pt x="849" y="362"/>
                    <a:pt x="849" y="361"/>
                    <a:pt x="850" y="360"/>
                  </a:cubicBezTo>
                  <a:cubicBezTo>
                    <a:pt x="851" y="359"/>
                    <a:pt x="851" y="358"/>
                    <a:pt x="852" y="357"/>
                  </a:cubicBezTo>
                  <a:cubicBezTo>
                    <a:pt x="853" y="356"/>
                    <a:pt x="853" y="355"/>
                    <a:pt x="854" y="354"/>
                  </a:cubicBezTo>
                  <a:cubicBezTo>
                    <a:pt x="855" y="353"/>
                    <a:pt x="855" y="352"/>
                    <a:pt x="856" y="351"/>
                  </a:cubicBezTo>
                  <a:cubicBezTo>
                    <a:pt x="856" y="350"/>
                    <a:pt x="857" y="348"/>
                    <a:pt x="858" y="347"/>
                  </a:cubicBezTo>
                  <a:cubicBezTo>
                    <a:pt x="858" y="346"/>
                    <a:pt x="859" y="345"/>
                    <a:pt x="860" y="344"/>
                  </a:cubicBezTo>
                  <a:cubicBezTo>
                    <a:pt x="860" y="344"/>
                    <a:pt x="860" y="343"/>
                    <a:pt x="861" y="343"/>
                  </a:cubicBezTo>
                  <a:cubicBezTo>
                    <a:pt x="861" y="342"/>
                    <a:pt x="861" y="342"/>
                    <a:pt x="861" y="342"/>
                  </a:cubicBezTo>
                  <a:cubicBezTo>
                    <a:pt x="861" y="342"/>
                    <a:pt x="861" y="341"/>
                    <a:pt x="862" y="341"/>
                  </a:cubicBezTo>
                  <a:cubicBezTo>
                    <a:pt x="862" y="341"/>
                    <a:pt x="862" y="340"/>
                    <a:pt x="863" y="340"/>
                  </a:cubicBezTo>
                  <a:cubicBezTo>
                    <a:pt x="863" y="339"/>
                    <a:pt x="864" y="338"/>
                    <a:pt x="865" y="337"/>
                  </a:cubicBezTo>
                  <a:cubicBezTo>
                    <a:pt x="865" y="336"/>
                    <a:pt x="866" y="335"/>
                    <a:pt x="866" y="333"/>
                  </a:cubicBezTo>
                  <a:cubicBezTo>
                    <a:pt x="867" y="332"/>
                    <a:pt x="868" y="331"/>
                    <a:pt x="868" y="330"/>
                  </a:cubicBezTo>
                  <a:cubicBezTo>
                    <a:pt x="869" y="329"/>
                    <a:pt x="870" y="328"/>
                    <a:pt x="870" y="327"/>
                  </a:cubicBezTo>
                  <a:cubicBezTo>
                    <a:pt x="871" y="326"/>
                    <a:pt x="872" y="325"/>
                    <a:pt x="872" y="324"/>
                  </a:cubicBezTo>
                  <a:cubicBezTo>
                    <a:pt x="873" y="323"/>
                    <a:pt x="873" y="322"/>
                    <a:pt x="874" y="321"/>
                  </a:cubicBezTo>
                  <a:cubicBezTo>
                    <a:pt x="875" y="320"/>
                    <a:pt x="875" y="319"/>
                    <a:pt x="876" y="318"/>
                  </a:cubicBezTo>
                  <a:cubicBezTo>
                    <a:pt x="877" y="317"/>
                    <a:pt x="877" y="316"/>
                    <a:pt x="878" y="315"/>
                  </a:cubicBezTo>
                  <a:cubicBezTo>
                    <a:pt x="879" y="314"/>
                    <a:pt x="879" y="313"/>
                    <a:pt x="880" y="312"/>
                  </a:cubicBezTo>
                  <a:cubicBezTo>
                    <a:pt x="880" y="311"/>
                    <a:pt x="881" y="310"/>
                    <a:pt x="882" y="309"/>
                  </a:cubicBezTo>
                  <a:cubicBezTo>
                    <a:pt x="882" y="308"/>
                    <a:pt x="883" y="307"/>
                    <a:pt x="884" y="306"/>
                  </a:cubicBezTo>
                  <a:cubicBezTo>
                    <a:pt x="884" y="305"/>
                    <a:pt x="885" y="304"/>
                    <a:pt x="886" y="303"/>
                  </a:cubicBezTo>
                  <a:cubicBezTo>
                    <a:pt x="886" y="302"/>
                    <a:pt x="887" y="301"/>
                    <a:pt x="887" y="300"/>
                  </a:cubicBezTo>
                  <a:cubicBezTo>
                    <a:pt x="888" y="299"/>
                    <a:pt x="889" y="297"/>
                    <a:pt x="889" y="296"/>
                  </a:cubicBezTo>
                  <a:cubicBezTo>
                    <a:pt x="890" y="295"/>
                    <a:pt x="891" y="294"/>
                    <a:pt x="891" y="293"/>
                  </a:cubicBezTo>
                  <a:cubicBezTo>
                    <a:pt x="892" y="292"/>
                    <a:pt x="893" y="291"/>
                    <a:pt x="893" y="290"/>
                  </a:cubicBezTo>
                  <a:cubicBezTo>
                    <a:pt x="894" y="289"/>
                    <a:pt x="894" y="288"/>
                    <a:pt x="895" y="287"/>
                  </a:cubicBezTo>
                  <a:cubicBezTo>
                    <a:pt x="896" y="286"/>
                    <a:pt x="896" y="285"/>
                    <a:pt x="897" y="284"/>
                  </a:cubicBezTo>
                  <a:cubicBezTo>
                    <a:pt x="898" y="283"/>
                    <a:pt x="898" y="282"/>
                    <a:pt x="899" y="281"/>
                  </a:cubicBezTo>
                  <a:cubicBezTo>
                    <a:pt x="899" y="280"/>
                    <a:pt x="900" y="279"/>
                    <a:pt x="901" y="278"/>
                  </a:cubicBezTo>
                  <a:cubicBezTo>
                    <a:pt x="901" y="277"/>
                    <a:pt x="902" y="276"/>
                    <a:pt x="903" y="275"/>
                  </a:cubicBezTo>
                  <a:cubicBezTo>
                    <a:pt x="903" y="274"/>
                    <a:pt x="904" y="273"/>
                    <a:pt x="905" y="272"/>
                  </a:cubicBezTo>
                  <a:cubicBezTo>
                    <a:pt x="905" y="271"/>
                    <a:pt x="906" y="270"/>
                    <a:pt x="907" y="269"/>
                  </a:cubicBezTo>
                  <a:cubicBezTo>
                    <a:pt x="907" y="268"/>
                    <a:pt x="908" y="267"/>
                    <a:pt x="908" y="266"/>
                  </a:cubicBezTo>
                  <a:cubicBezTo>
                    <a:pt x="909" y="265"/>
                    <a:pt x="910" y="264"/>
                    <a:pt x="910" y="263"/>
                  </a:cubicBezTo>
                  <a:cubicBezTo>
                    <a:pt x="911" y="262"/>
                    <a:pt x="912" y="260"/>
                    <a:pt x="912" y="259"/>
                  </a:cubicBezTo>
                  <a:cubicBezTo>
                    <a:pt x="913" y="258"/>
                    <a:pt x="913" y="257"/>
                    <a:pt x="914" y="256"/>
                  </a:cubicBezTo>
                  <a:cubicBezTo>
                    <a:pt x="915" y="255"/>
                    <a:pt x="915" y="254"/>
                    <a:pt x="916" y="253"/>
                  </a:cubicBezTo>
                  <a:cubicBezTo>
                    <a:pt x="917" y="252"/>
                    <a:pt x="917" y="251"/>
                    <a:pt x="918" y="250"/>
                  </a:cubicBezTo>
                  <a:cubicBezTo>
                    <a:pt x="919" y="249"/>
                    <a:pt x="919" y="248"/>
                    <a:pt x="920" y="247"/>
                  </a:cubicBezTo>
                  <a:cubicBezTo>
                    <a:pt x="920" y="246"/>
                    <a:pt x="921" y="245"/>
                    <a:pt x="922" y="244"/>
                  </a:cubicBezTo>
                  <a:cubicBezTo>
                    <a:pt x="922" y="243"/>
                    <a:pt x="923" y="242"/>
                    <a:pt x="924" y="241"/>
                  </a:cubicBezTo>
                  <a:cubicBezTo>
                    <a:pt x="924" y="240"/>
                    <a:pt x="925" y="239"/>
                    <a:pt x="925" y="238"/>
                  </a:cubicBezTo>
                  <a:cubicBezTo>
                    <a:pt x="926" y="237"/>
                    <a:pt x="926" y="237"/>
                    <a:pt x="927" y="236"/>
                  </a:cubicBezTo>
                  <a:cubicBezTo>
                    <a:pt x="927" y="236"/>
                    <a:pt x="927" y="235"/>
                    <a:pt x="927" y="235"/>
                  </a:cubicBezTo>
                  <a:cubicBezTo>
                    <a:pt x="927" y="235"/>
                    <a:pt x="927" y="235"/>
                    <a:pt x="927" y="235"/>
                  </a:cubicBezTo>
                  <a:cubicBezTo>
                    <a:pt x="928" y="234"/>
                    <a:pt x="928" y="234"/>
                    <a:pt x="929" y="233"/>
                  </a:cubicBezTo>
                  <a:cubicBezTo>
                    <a:pt x="929" y="232"/>
                    <a:pt x="930" y="231"/>
                    <a:pt x="930" y="230"/>
                  </a:cubicBezTo>
                  <a:cubicBezTo>
                    <a:pt x="931" y="229"/>
                    <a:pt x="932" y="228"/>
                    <a:pt x="932" y="227"/>
                  </a:cubicBezTo>
                  <a:cubicBezTo>
                    <a:pt x="933" y="226"/>
                    <a:pt x="934" y="225"/>
                    <a:pt x="934" y="224"/>
                  </a:cubicBezTo>
                  <a:cubicBezTo>
                    <a:pt x="935" y="223"/>
                    <a:pt x="936" y="222"/>
                    <a:pt x="936" y="221"/>
                  </a:cubicBezTo>
                  <a:cubicBezTo>
                    <a:pt x="937" y="219"/>
                    <a:pt x="937" y="218"/>
                    <a:pt x="938" y="217"/>
                  </a:cubicBezTo>
                  <a:cubicBezTo>
                    <a:pt x="939" y="216"/>
                    <a:pt x="939" y="215"/>
                    <a:pt x="940" y="214"/>
                  </a:cubicBezTo>
                  <a:cubicBezTo>
                    <a:pt x="941" y="213"/>
                    <a:pt x="941" y="212"/>
                    <a:pt x="942" y="211"/>
                  </a:cubicBezTo>
                  <a:cubicBezTo>
                    <a:pt x="942" y="210"/>
                    <a:pt x="943" y="209"/>
                    <a:pt x="944" y="208"/>
                  </a:cubicBezTo>
                  <a:cubicBezTo>
                    <a:pt x="944" y="207"/>
                    <a:pt x="945" y="206"/>
                    <a:pt x="946" y="205"/>
                  </a:cubicBezTo>
                  <a:cubicBezTo>
                    <a:pt x="946" y="204"/>
                    <a:pt x="947" y="203"/>
                    <a:pt x="948" y="202"/>
                  </a:cubicBezTo>
                  <a:cubicBezTo>
                    <a:pt x="948" y="201"/>
                    <a:pt x="949" y="200"/>
                    <a:pt x="949" y="199"/>
                  </a:cubicBezTo>
                  <a:cubicBezTo>
                    <a:pt x="950" y="198"/>
                    <a:pt x="951" y="197"/>
                    <a:pt x="951" y="196"/>
                  </a:cubicBezTo>
                  <a:cubicBezTo>
                    <a:pt x="952" y="195"/>
                    <a:pt x="953" y="194"/>
                    <a:pt x="953" y="193"/>
                  </a:cubicBezTo>
                  <a:cubicBezTo>
                    <a:pt x="954" y="192"/>
                    <a:pt x="954" y="191"/>
                    <a:pt x="955" y="190"/>
                  </a:cubicBezTo>
                  <a:cubicBezTo>
                    <a:pt x="956" y="189"/>
                    <a:pt x="956" y="188"/>
                    <a:pt x="957" y="187"/>
                  </a:cubicBezTo>
                  <a:cubicBezTo>
                    <a:pt x="958" y="186"/>
                    <a:pt x="958" y="184"/>
                    <a:pt x="959" y="183"/>
                  </a:cubicBezTo>
                  <a:cubicBezTo>
                    <a:pt x="960" y="182"/>
                    <a:pt x="960" y="181"/>
                    <a:pt x="961" y="180"/>
                  </a:cubicBezTo>
                  <a:cubicBezTo>
                    <a:pt x="961" y="179"/>
                    <a:pt x="962" y="178"/>
                    <a:pt x="963" y="177"/>
                  </a:cubicBezTo>
                  <a:cubicBezTo>
                    <a:pt x="963" y="176"/>
                    <a:pt x="964" y="175"/>
                    <a:pt x="965" y="174"/>
                  </a:cubicBezTo>
                  <a:cubicBezTo>
                    <a:pt x="965" y="173"/>
                    <a:pt x="966" y="172"/>
                    <a:pt x="966" y="171"/>
                  </a:cubicBezTo>
                  <a:cubicBezTo>
                    <a:pt x="967" y="170"/>
                    <a:pt x="968" y="169"/>
                    <a:pt x="968" y="168"/>
                  </a:cubicBezTo>
                  <a:cubicBezTo>
                    <a:pt x="969" y="167"/>
                    <a:pt x="970" y="166"/>
                    <a:pt x="970" y="165"/>
                  </a:cubicBezTo>
                  <a:cubicBezTo>
                    <a:pt x="971" y="164"/>
                    <a:pt x="971" y="163"/>
                    <a:pt x="972" y="162"/>
                  </a:cubicBezTo>
                  <a:cubicBezTo>
                    <a:pt x="973" y="161"/>
                    <a:pt x="973" y="160"/>
                    <a:pt x="974" y="159"/>
                  </a:cubicBezTo>
                  <a:cubicBezTo>
                    <a:pt x="975" y="158"/>
                    <a:pt x="975" y="157"/>
                    <a:pt x="976" y="156"/>
                  </a:cubicBezTo>
                  <a:cubicBezTo>
                    <a:pt x="976" y="155"/>
                    <a:pt x="977" y="154"/>
                    <a:pt x="978" y="153"/>
                  </a:cubicBezTo>
                  <a:cubicBezTo>
                    <a:pt x="978" y="152"/>
                    <a:pt x="979" y="151"/>
                    <a:pt x="980" y="150"/>
                  </a:cubicBezTo>
                  <a:cubicBezTo>
                    <a:pt x="980" y="148"/>
                    <a:pt x="981" y="147"/>
                    <a:pt x="982" y="146"/>
                  </a:cubicBezTo>
                  <a:cubicBezTo>
                    <a:pt x="982" y="145"/>
                    <a:pt x="983" y="144"/>
                    <a:pt x="983" y="143"/>
                  </a:cubicBezTo>
                  <a:cubicBezTo>
                    <a:pt x="984" y="143"/>
                    <a:pt x="984" y="142"/>
                    <a:pt x="985" y="141"/>
                  </a:cubicBezTo>
                  <a:cubicBezTo>
                    <a:pt x="985" y="141"/>
                    <a:pt x="985" y="141"/>
                    <a:pt x="985" y="140"/>
                  </a:cubicBezTo>
                  <a:cubicBezTo>
                    <a:pt x="985" y="140"/>
                    <a:pt x="985" y="140"/>
                    <a:pt x="985" y="140"/>
                  </a:cubicBezTo>
                  <a:cubicBezTo>
                    <a:pt x="986" y="140"/>
                    <a:pt x="986" y="139"/>
                    <a:pt x="987" y="138"/>
                  </a:cubicBezTo>
                  <a:cubicBezTo>
                    <a:pt x="987" y="137"/>
                    <a:pt x="988" y="136"/>
                    <a:pt x="988" y="135"/>
                  </a:cubicBezTo>
                  <a:cubicBezTo>
                    <a:pt x="989" y="134"/>
                    <a:pt x="990" y="133"/>
                    <a:pt x="990" y="132"/>
                  </a:cubicBezTo>
                  <a:cubicBezTo>
                    <a:pt x="991" y="131"/>
                    <a:pt x="992" y="130"/>
                    <a:pt x="992" y="129"/>
                  </a:cubicBezTo>
                  <a:cubicBezTo>
                    <a:pt x="993" y="128"/>
                    <a:pt x="993" y="127"/>
                    <a:pt x="994" y="126"/>
                  </a:cubicBezTo>
                  <a:cubicBezTo>
                    <a:pt x="995" y="125"/>
                    <a:pt x="995" y="124"/>
                    <a:pt x="996" y="123"/>
                  </a:cubicBezTo>
                  <a:cubicBezTo>
                    <a:pt x="997" y="122"/>
                    <a:pt x="997" y="121"/>
                    <a:pt x="998" y="120"/>
                  </a:cubicBezTo>
                  <a:cubicBezTo>
                    <a:pt x="998" y="119"/>
                    <a:pt x="999" y="117"/>
                    <a:pt x="1000" y="116"/>
                  </a:cubicBezTo>
                  <a:cubicBezTo>
                    <a:pt x="1000" y="115"/>
                    <a:pt x="1001" y="114"/>
                    <a:pt x="1002" y="113"/>
                  </a:cubicBezTo>
                  <a:cubicBezTo>
                    <a:pt x="1002" y="112"/>
                    <a:pt x="1003" y="111"/>
                    <a:pt x="1004" y="110"/>
                  </a:cubicBezTo>
                  <a:cubicBezTo>
                    <a:pt x="1004" y="109"/>
                    <a:pt x="1005" y="108"/>
                    <a:pt x="1005" y="107"/>
                  </a:cubicBezTo>
                  <a:cubicBezTo>
                    <a:pt x="1006" y="106"/>
                    <a:pt x="1007" y="105"/>
                    <a:pt x="1007" y="104"/>
                  </a:cubicBezTo>
                  <a:cubicBezTo>
                    <a:pt x="1008" y="103"/>
                    <a:pt x="1009" y="102"/>
                    <a:pt x="1009" y="101"/>
                  </a:cubicBezTo>
                  <a:cubicBezTo>
                    <a:pt x="1010" y="100"/>
                    <a:pt x="1010" y="99"/>
                    <a:pt x="1011" y="98"/>
                  </a:cubicBezTo>
                  <a:cubicBezTo>
                    <a:pt x="1012" y="97"/>
                    <a:pt x="1012" y="96"/>
                    <a:pt x="1013" y="95"/>
                  </a:cubicBezTo>
                  <a:cubicBezTo>
                    <a:pt x="1014" y="94"/>
                    <a:pt x="1014" y="93"/>
                    <a:pt x="1015" y="92"/>
                  </a:cubicBezTo>
                  <a:cubicBezTo>
                    <a:pt x="1015" y="91"/>
                    <a:pt x="1016" y="90"/>
                    <a:pt x="1017" y="89"/>
                  </a:cubicBezTo>
                  <a:cubicBezTo>
                    <a:pt x="1017" y="88"/>
                    <a:pt x="1018" y="87"/>
                    <a:pt x="1019" y="86"/>
                  </a:cubicBezTo>
                  <a:cubicBezTo>
                    <a:pt x="1019" y="85"/>
                    <a:pt x="1020" y="83"/>
                    <a:pt x="1020" y="82"/>
                  </a:cubicBezTo>
                  <a:cubicBezTo>
                    <a:pt x="1021" y="81"/>
                    <a:pt x="1022" y="80"/>
                    <a:pt x="1022" y="79"/>
                  </a:cubicBezTo>
                  <a:cubicBezTo>
                    <a:pt x="1023" y="78"/>
                    <a:pt x="1023" y="77"/>
                    <a:pt x="1024" y="76"/>
                  </a:cubicBezTo>
                  <a:cubicBezTo>
                    <a:pt x="1025" y="75"/>
                    <a:pt x="1025" y="74"/>
                    <a:pt x="1026" y="73"/>
                  </a:cubicBezTo>
                  <a:cubicBezTo>
                    <a:pt x="1027" y="72"/>
                    <a:pt x="1027" y="71"/>
                    <a:pt x="1028" y="70"/>
                  </a:cubicBezTo>
                  <a:cubicBezTo>
                    <a:pt x="1028" y="69"/>
                    <a:pt x="1029" y="68"/>
                    <a:pt x="1030" y="67"/>
                  </a:cubicBezTo>
                  <a:cubicBezTo>
                    <a:pt x="1030" y="66"/>
                    <a:pt x="1031" y="65"/>
                    <a:pt x="1032" y="64"/>
                  </a:cubicBezTo>
                  <a:cubicBezTo>
                    <a:pt x="1032" y="63"/>
                    <a:pt x="1033" y="62"/>
                    <a:pt x="1033" y="61"/>
                  </a:cubicBezTo>
                  <a:cubicBezTo>
                    <a:pt x="1034" y="60"/>
                    <a:pt x="1035" y="59"/>
                    <a:pt x="1035" y="58"/>
                  </a:cubicBezTo>
                  <a:cubicBezTo>
                    <a:pt x="1036" y="57"/>
                    <a:pt x="1036" y="56"/>
                    <a:pt x="1037" y="55"/>
                  </a:cubicBezTo>
                  <a:cubicBezTo>
                    <a:pt x="1037" y="55"/>
                    <a:pt x="1037" y="55"/>
                    <a:pt x="1037" y="55"/>
                  </a:cubicBezTo>
                  <a:cubicBezTo>
                    <a:pt x="1037" y="55"/>
                    <a:pt x="1037" y="55"/>
                    <a:pt x="1037" y="55"/>
                  </a:cubicBezTo>
                  <a:cubicBezTo>
                    <a:pt x="1037" y="55"/>
                    <a:pt x="1037" y="55"/>
                    <a:pt x="1037" y="55"/>
                  </a:cubicBezTo>
                  <a:cubicBezTo>
                    <a:pt x="1038" y="54"/>
                    <a:pt x="1038" y="53"/>
                    <a:pt x="1039" y="52"/>
                  </a:cubicBezTo>
                  <a:cubicBezTo>
                    <a:pt x="1039" y="52"/>
                    <a:pt x="1039" y="52"/>
                    <a:pt x="1039" y="52"/>
                  </a:cubicBezTo>
                  <a:cubicBezTo>
                    <a:pt x="1039" y="51"/>
                    <a:pt x="1040" y="50"/>
                    <a:pt x="1040" y="49"/>
                  </a:cubicBezTo>
                  <a:cubicBezTo>
                    <a:pt x="1040" y="49"/>
                    <a:pt x="1041" y="49"/>
                    <a:pt x="1041" y="49"/>
                  </a:cubicBezTo>
                  <a:cubicBezTo>
                    <a:pt x="1041" y="48"/>
                    <a:pt x="1042" y="47"/>
                    <a:pt x="1042" y="46"/>
                  </a:cubicBezTo>
                  <a:cubicBezTo>
                    <a:pt x="1042" y="46"/>
                    <a:pt x="1042" y="46"/>
                    <a:pt x="1043" y="46"/>
                  </a:cubicBezTo>
                  <a:cubicBezTo>
                    <a:pt x="1043" y="45"/>
                    <a:pt x="1044" y="44"/>
                    <a:pt x="1044" y="43"/>
                  </a:cubicBezTo>
                  <a:cubicBezTo>
                    <a:pt x="1044" y="43"/>
                    <a:pt x="1044" y="43"/>
                    <a:pt x="1044" y="43"/>
                  </a:cubicBezTo>
                  <a:cubicBezTo>
                    <a:pt x="1045" y="42"/>
                    <a:pt x="1046" y="41"/>
                    <a:pt x="1046" y="40"/>
                  </a:cubicBezTo>
                  <a:cubicBezTo>
                    <a:pt x="1046" y="40"/>
                    <a:pt x="1046" y="40"/>
                    <a:pt x="1046" y="39"/>
                  </a:cubicBezTo>
                  <a:cubicBezTo>
                    <a:pt x="1047" y="39"/>
                    <a:pt x="1047" y="38"/>
                    <a:pt x="1048" y="37"/>
                  </a:cubicBezTo>
                  <a:cubicBezTo>
                    <a:pt x="1048" y="37"/>
                    <a:pt x="1048" y="36"/>
                    <a:pt x="1048" y="36"/>
                  </a:cubicBezTo>
                  <a:cubicBezTo>
                    <a:pt x="1049" y="35"/>
                    <a:pt x="1049" y="35"/>
                    <a:pt x="1050" y="34"/>
                  </a:cubicBezTo>
                  <a:cubicBezTo>
                    <a:pt x="1050" y="34"/>
                    <a:pt x="1050" y="33"/>
                    <a:pt x="1050" y="33"/>
                  </a:cubicBezTo>
                  <a:cubicBezTo>
                    <a:pt x="1051" y="32"/>
                    <a:pt x="1051" y="31"/>
                    <a:pt x="1052" y="31"/>
                  </a:cubicBezTo>
                  <a:cubicBezTo>
                    <a:pt x="1052" y="30"/>
                    <a:pt x="1052" y="30"/>
                    <a:pt x="1052" y="30"/>
                  </a:cubicBezTo>
                  <a:cubicBezTo>
                    <a:pt x="1065" y="8"/>
                    <a:pt x="1093" y="0"/>
                    <a:pt x="1114" y="13"/>
                  </a:cubicBezTo>
                  <a:cubicBezTo>
                    <a:pt x="1136" y="26"/>
                    <a:pt x="1144" y="53"/>
                    <a:pt x="1131" y="75"/>
                  </a:cubicBezTo>
                  <a:close/>
                  <a:moveTo>
                    <a:pt x="1402" y="698"/>
                  </a:moveTo>
                  <a:cubicBezTo>
                    <a:pt x="1342" y="698"/>
                    <a:pt x="1342" y="698"/>
                    <a:pt x="1342" y="698"/>
                  </a:cubicBezTo>
                  <a:cubicBezTo>
                    <a:pt x="846" y="698"/>
                    <a:pt x="846" y="698"/>
                    <a:pt x="846" y="698"/>
                  </a:cubicBezTo>
                  <a:cubicBezTo>
                    <a:pt x="846" y="699"/>
                    <a:pt x="845" y="699"/>
                    <a:pt x="845" y="700"/>
                  </a:cubicBezTo>
                  <a:cubicBezTo>
                    <a:pt x="844" y="701"/>
                    <a:pt x="844" y="702"/>
                    <a:pt x="843" y="703"/>
                  </a:cubicBezTo>
                  <a:cubicBezTo>
                    <a:pt x="843" y="704"/>
                    <a:pt x="842" y="705"/>
                    <a:pt x="842" y="706"/>
                  </a:cubicBezTo>
                  <a:cubicBezTo>
                    <a:pt x="841" y="707"/>
                    <a:pt x="841" y="708"/>
                    <a:pt x="840" y="709"/>
                  </a:cubicBezTo>
                  <a:cubicBezTo>
                    <a:pt x="839" y="710"/>
                    <a:pt x="839" y="711"/>
                    <a:pt x="838" y="712"/>
                  </a:cubicBezTo>
                  <a:cubicBezTo>
                    <a:pt x="838" y="713"/>
                    <a:pt x="837" y="714"/>
                    <a:pt x="837" y="715"/>
                  </a:cubicBezTo>
                  <a:cubicBezTo>
                    <a:pt x="836" y="716"/>
                    <a:pt x="836" y="717"/>
                    <a:pt x="835" y="718"/>
                  </a:cubicBezTo>
                  <a:cubicBezTo>
                    <a:pt x="835" y="720"/>
                    <a:pt x="834" y="721"/>
                    <a:pt x="833" y="722"/>
                  </a:cubicBezTo>
                  <a:cubicBezTo>
                    <a:pt x="833" y="723"/>
                    <a:pt x="832" y="724"/>
                    <a:pt x="832" y="725"/>
                  </a:cubicBezTo>
                  <a:cubicBezTo>
                    <a:pt x="831" y="726"/>
                    <a:pt x="831" y="727"/>
                    <a:pt x="830" y="728"/>
                  </a:cubicBezTo>
                  <a:cubicBezTo>
                    <a:pt x="811" y="765"/>
                    <a:pt x="773" y="789"/>
                    <a:pt x="731" y="789"/>
                  </a:cubicBezTo>
                  <a:cubicBezTo>
                    <a:pt x="677" y="789"/>
                    <a:pt x="631" y="750"/>
                    <a:pt x="622" y="698"/>
                  </a:cubicBezTo>
                  <a:cubicBezTo>
                    <a:pt x="120" y="698"/>
                    <a:pt x="120" y="698"/>
                    <a:pt x="120" y="698"/>
                  </a:cubicBezTo>
                  <a:cubicBezTo>
                    <a:pt x="60" y="698"/>
                    <a:pt x="60" y="698"/>
                    <a:pt x="60" y="698"/>
                  </a:cubicBezTo>
                  <a:cubicBezTo>
                    <a:pt x="0" y="698"/>
                    <a:pt x="0" y="698"/>
                    <a:pt x="0" y="698"/>
                  </a:cubicBezTo>
                  <a:cubicBezTo>
                    <a:pt x="0" y="966"/>
                    <a:pt x="145" y="1200"/>
                    <a:pt x="360" y="1328"/>
                  </a:cubicBezTo>
                  <a:cubicBezTo>
                    <a:pt x="360" y="1161"/>
                    <a:pt x="360" y="1161"/>
                    <a:pt x="360" y="1161"/>
                  </a:cubicBezTo>
                  <a:cubicBezTo>
                    <a:pt x="309" y="1213"/>
                    <a:pt x="309" y="1213"/>
                    <a:pt x="309" y="1213"/>
                  </a:cubicBezTo>
                  <a:cubicBezTo>
                    <a:pt x="304" y="1218"/>
                    <a:pt x="297" y="1220"/>
                    <a:pt x="290" y="1220"/>
                  </a:cubicBezTo>
                  <a:cubicBezTo>
                    <a:pt x="283" y="1220"/>
                    <a:pt x="276" y="1218"/>
                    <a:pt x="271" y="1213"/>
                  </a:cubicBezTo>
                  <a:cubicBezTo>
                    <a:pt x="266" y="1208"/>
                    <a:pt x="264" y="1201"/>
                    <a:pt x="264" y="1194"/>
                  </a:cubicBezTo>
                  <a:cubicBezTo>
                    <a:pt x="264" y="1187"/>
                    <a:pt x="266" y="1180"/>
                    <a:pt x="271" y="1175"/>
                  </a:cubicBezTo>
                  <a:cubicBezTo>
                    <a:pt x="368" y="1079"/>
                    <a:pt x="368" y="1079"/>
                    <a:pt x="368" y="1079"/>
                  </a:cubicBezTo>
                  <a:cubicBezTo>
                    <a:pt x="369" y="1078"/>
                    <a:pt x="370" y="1077"/>
                    <a:pt x="372" y="1076"/>
                  </a:cubicBezTo>
                  <a:cubicBezTo>
                    <a:pt x="372" y="1075"/>
                    <a:pt x="372" y="1075"/>
                    <a:pt x="372" y="1075"/>
                  </a:cubicBezTo>
                  <a:cubicBezTo>
                    <a:pt x="372" y="1075"/>
                    <a:pt x="372" y="1075"/>
                    <a:pt x="372" y="1075"/>
                  </a:cubicBezTo>
                  <a:cubicBezTo>
                    <a:pt x="374" y="1074"/>
                    <a:pt x="375" y="1074"/>
                    <a:pt x="376" y="1073"/>
                  </a:cubicBezTo>
                  <a:cubicBezTo>
                    <a:pt x="377" y="1073"/>
                    <a:pt x="377" y="1073"/>
                    <a:pt x="377" y="1073"/>
                  </a:cubicBezTo>
                  <a:cubicBezTo>
                    <a:pt x="377" y="1073"/>
                    <a:pt x="377" y="1073"/>
                    <a:pt x="377" y="1073"/>
                  </a:cubicBezTo>
                  <a:cubicBezTo>
                    <a:pt x="379" y="1072"/>
                    <a:pt x="380" y="1072"/>
                    <a:pt x="381" y="1072"/>
                  </a:cubicBezTo>
                  <a:cubicBezTo>
                    <a:pt x="382" y="1072"/>
                    <a:pt x="382" y="1072"/>
                    <a:pt x="382" y="1072"/>
                  </a:cubicBezTo>
                  <a:cubicBezTo>
                    <a:pt x="382" y="1072"/>
                    <a:pt x="382" y="1072"/>
                    <a:pt x="382" y="1072"/>
                  </a:cubicBezTo>
                  <a:cubicBezTo>
                    <a:pt x="384" y="1071"/>
                    <a:pt x="385" y="1071"/>
                    <a:pt x="387" y="1071"/>
                  </a:cubicBezTo>
                  <a:cubicBezTo>
                    <a:pt x="388" y="1071"/>
                    <a:pt x="390" y="1071"/>
                    <a:pt x="391" y="1072"/>
                  </a:cubicBezTo>
                  <a:cubicBezTo>
                    <a:pt x="392" y="1072"/>
                    <a:pt x="392" y="1072"/>
                    <a:pt x="392" y="1072"/>
                  </a:cubicBezTo>
                  <a:cubicBezTo>
                    <a:pt x="393" y="1072"/>
                    <a:pt x="394" y="1072"/>
                    <a:pt x="396" y="1073"/>
                  </a:cubicBezTo>
                  <a:cubicBezTo>
                    <a:pt x="396" y="1073"/>
                    <a:pt x="396" y="1073"/>
                    <a:pt x="396" y="1073"/>
                  </a:cubicBezTo>
                  <a:cubicBezTo>
                    <a:pt x="397" y="1073"/>
                    <a:pt x="397" y="1073"/>
                    <a:pt x="397" y="1073"/>
                  </a:cubicBezTo>
                  <a:cubicBezTo>
                    <a:pt x="398" y="1074"/>
                    <a:pt x="399" y="1074"/>
                    <a:pt x="401" y="1075"/>
                  </a:cubicBezTo>
                  <a:cubicBezTo>
                    <a:pt x="401" y="1075"/>
                    <a:pt x="401" y="1075"/>
                    <a:pt x="401" y="1075"/>
                  </a:cubicBezTo>
                  <a:cubicBezTo>
                    <a:pt x="401" y="1076"/>
                    <a:pt x="401" y="1076"/>
                    <a:pt x="401" y="1076"/>
                  </a:cubicBezTo>
                  <a:cubicBezTo>
                    <a:pt x="403" y="1077"/>
                    <a:pt x="404" y="1078"/>
                    <a:pt x="405" y="1079"/>
                  </a:cubicBezTo>
                  <a:cubicBezTo>
                    <a:pt x="502" y="1175"/>
                    <a:pt x="502" y="1175"/>
                    <a:pt x="502" y="1175"/>
                  </a:cubicBezTo>
                  <a:cubicBezTo>
                    <a:pt x="507" y="1180"/>
                    <a:pt x="510" y="1187"/>
                    <a:pt x="510" y="1194"/>
                  </a:cubicBezTo>
                  <a:cubicBezTo>
                    <a:pt x="510" y="1201"/>
                    <a:pt x="507" y="1208"/>
                    <a:pt x="502" y="1213"/>
                  </a:cubicBezTo>
                  <a:cubicBezTo>
                    <a:pt x="497" y="1218"/>
                    <a:pt x="490" y="1220"/>
                    <a:pt x="483" y="1220"/>
                  </a:cubicBezTo>
                  <a:cubicBezTo>
                    <a:pt x="476" y="1220"/>
                    <a:pt x="470" y="1218"/>
                    <a:pt x="465" y="1213"/>
                  </a:cubicBezTo>
                  <a:cubicBezTo>
                    <a:pt x="413" y="1161"/>
                    <a:pt x="413" y="1161"/>
                    <a:pt x="413" y="1161"/>
                  </a:cubicBezTo>
                  <a:cubicBezTo>
                    <a:pt x="413" y="1356"/>
                    <a:pt x="413" y="1356"/>
                    <a:pt x="413" y="1356"/>
                  </a:cubicBezTo>
                  <a:cubicBezTo>
                    <a:pt x="502" y="1399"/>
                    <a:pt x="600" y="1425"/>
                    <a:pt x="705" y="1428"/>
                  </a:cubicBezTo>
                  <a:cubicBezTo>
                    <a:pt x="705" y="1044"/>
                    <a:pt x="705" y="1044"/>
                    <a:pt x="705" y="1044"/>
                  </a:cubicBezTo>
                  <a:cubicBezTo>
                    <a:pt x="653" y="1096"/>
                    <a:pt x="653" y="1096"/>
                    <a:pt x="653" y="1096"/>
                  </a:cubicBezTo>
                  <a:cubicBezTo>
                    <a:pt x="648" y="1101"/>
                    <a:pt x="641" y="1104"/>
                    <a:pt x="634" y="1104"/>
                  </a:cubicBezTo>
                  <a:cubicBezTo>
                    <a:pt x="627" y="1104"/>
                    <a:pt x="621" y="1101"/>
                    <a:pt x="616" y="1096"/>
                  </a:cubicBezTo>
                  <a:cubicBezTo>
                    <a:pt x="611" y="1091"/>
                    <a:pt x="608" y="1085"/>
                    <a:pt x="608" y="1078"/>
                  </a:cubicBezTo>
                  <a:cubicBezTo>
                    <a:pt x="608" y="1071"/>
                    <a:pt x="611" y="1064"/>
                    <a:pt x="616" y="1059"/>
                  </a:cubicBezTo>
                  <a:cubicBezTo>
                    <a:pt x="712" y="962"/>
                    <a:pt x="712" y="962"/>
                    <a:pt x="712" y="962"/>
                  </a:cubicBezTo>
                  <a:cubicBezTo>
                    <a:pt x="714" y="961"/>
                    <a:pt x="715" y="960"/>
                    <a:pt x="716" y="959"/>
                  </a:cubicBezTo>
                  <a:cubicBezTo>
                    <a:pt x="717" y="959"/>
                    <a:pt x="717" y="959"/>
                    <a:pt x="717" y="959"/>
                  </a:cubicBezTo>
                  <a:cubicBezTo>
                    <a:pt x="717" y="959"/>
                    <a:pt x="717" y="959"/>
                    <a:pt x="717" y="959"/>
                  </a:cubicBezTo>
                  <a:cubicBezTo>
                    <a:pt x="718" y="958"/>
                    <a:pt x="719" y="957"/>
                    <a:pt x="721" y="957"/>
                  </a:cubicBezTo>
                  <a:cubicBezTo>
                    <a:pt x="722" y="956"/>
                    <a:pt x="722" y="956"/>
                    <a:pt x="722" y="956"/>
                  </a:cubicBezTo>
                  <a:cubicBezTo>
                    <a:pt x="722" y="956"/>
                    <a:pt x="722" y="956"/>
                    <a:pt x="722" y="956"/>
                  </a:cubicBezTo>
                  <a:cubicBezTo>
                    <a:pt x="723" y="956"/>
                    <a:pt x="725" y="955"/>
                    <a:pt x="726" y="955"/>
                  </a:cubicBezTo>
                  <a:cubicBezTo>
                    <a:pt x="726" y="955"/>
                    <a:pt x="726" y="955"/>
                    <a:pt x="726" y="955"/>
                  </a:cubicBezTo>
                  <a:cubicBezTo>
                    <a:pt x="726" y="955"/>
                    <a:pt x="726" y="955"/>
                    <a:pt x="726" y="955"/>
                  </a:cubicBezTo>
                  <a:cubicBezTo>
                    <a:pt x="728" y="955"/>
                    <a:pt x="729" y="955"/>
                    <a:pt x="731" y="955"/>
                  </a:cubicBezTo>
                  <a:cubicBezTo>
                    <a:pt x="733" y="955"/>
                    <a:pt x="734" y="955"/>
                    <a:pt x="736" y="955"/>
                  </a:cubicBezTo>
                  <a:cubicBezTo>
                    <a:pt x="736" y="955"/>
                    <a:pt x="736" y="955"/>
                    <a:pt x="736" y="955"/>
                  </a:cubicBezTo>
                  <a:cubicBezTo>
                    <a:pt x="737" y="955"/>
                    <a:pt x="739" y="956"/>
                    <a:pt x="740" y="956"/>
                  </a:cubicBezTo>
                  <a:cubicBezTo>
                    <a:pt x="740" y="956"/>
                    <a:pt x="740" y="956"/>
                    <a:pt x="740" y="956"/>
                  </a:cubicBezTo>
                  <a:cubicBezTo>
                    <a:pt x="741" y="957"/>
                    <a:pt x="741" y="957"/>
                    <a:pt x="741" y="957"/>
                  </a:cubicBezTo>
                  <a:cubicBezTo>
                    <a:pt x="743" y="957"/>
                    <a:pt x="744" y="958"/>
                    <a:pt x="745" y="959"/>
                  </a:cubicBezTo>
                  <a:cubicBezTo>
                    <a:pt x="745" y="959"/>
                    <a:pt x="745" y="959"/>
                    <a:pt x="745" y="959"/>
                  </a:cubicBezTo>
                  <a:cubicBezTo>
                    <a:pt x="746" y="959"/>
                    <a:pt x="746" y="959"/>
                    <a:pt x="746" y="959"/>
                  </a:cubicBezTo>
                  <a:cubicBezTo>
                    <a:pt x="747" y="960"/>
                    <a:pt x="748" y="961"/>
                    <a:pt x="750" y="962"/>
                  </a:cubicBezTo>
                  <a:cubicBezTo>
                    <a:pt x="846" y="1059"/>
                    <a:pt x="846" y="1059"/>
                    <a:pt x="846" y="1059"/>
                  </a:cubicBezTo>
                  <a:cubicBezTo>
                    <a:pt x="851" y="1064"/>
                    <a:pt x="854" y="1071"/>
                    <a:pt x="854" y="1078"/>
                  </a:cubicBezTo>
                  <a:cubicBezTo>
                    <a:pt x="854" y="1085"/>
                    <a:pt x="851" y="1091"/>
                    <a:pt x="846" y="1096"/>
                  </a:cubicBezTo>
                  <a:cubicBezTo>
                    <a:pt x="841" y="1101"/>
                    <a:pt x="835" y="1104"/>
                    <a:pt x="828" y="1104"/>
                  </a:cubicBezTo>
                  <a:cubicBezTo>
                    <a:pt x="821" y="1104"/>
                    <a:pt x="814" y="1101"/>
                    <a:pt x="809" y="1096"/>
                  </a:cubicBezTo>
                  <a:cubicBezTo>
                    <a:pt x="757" y="1044"/>
                    <a:pt x="757" y="1044"/>
                    <a:pt x="757" y="1044"/>
                  </a:cubicBezTo>
                  <a:cubicBezTo>
                    <a:pt x="757" y="1428"/>
                    <a:pt x="757" y="1428"/>
                    <a:pt x="757" y="1428"/>
                  </a:cubicBezTo>
                  <a:cubicBezTo>
                    <a:pt x="862" y="1425"/>
                    <a:pt x="960" y="1399"/>
                    <a:pt x="1049" y="1356"/>
                  </a:cubicBezTo>
                  <a:cubicBezTo>
                    <a:pt x="1049" y="928"/>
                    <a:pt x="1049" y="928"/>
                    <a:pt x="1049" y="928"/>
                  </a:cubicBezTo>
                  <a:cubicBezTo>
                    <a:pt x="997" y="980"/>
                    <a:pt x="997" y="980"/>
                    <a:pt x="997" y="980"/>
                  </a:cubicBezTo>
                  <a:cubicBezTo>
                    <a:pt x="992" y="985"/>
                    <a:pt x="986" y="987"/>
                    <a:pt x="979" y="987"/>
                  </a:cubicBezTo>
                  <a:cubicBezTo>
                    <a:pt x="972" y="987"/>
                    <a:pt x="965" y="985"/>
                    <a:pt x="960" y="980"/>
                  </a:cubicBezTo>
                  <a:cubicBezTo>
                    <a:pt x="955" y="975"/>
                    <a:pt x="952" y="968"/>
                    <a:pt x="952" y="961"/>
                  </a:cubicBezTo>
                  <a:cubicBezTo>
                    <a:pt x="952" y="954"/>
                    <a:pt x="955" y="948"/>
                    <a:pt x="960" y="943"/>
                  </a:cubicBezTo>
                  <a:cubicBezTo>
                    <a:pt x="1057" y="846"/>
                    <a:pt x="1057" y="846"/>
                    <a:pt x="1057" y="846"/>
                  </a:cubicBezTo>
                  <a:cubicBezTo>
                    <a:pt x="1058" y="845"/>
                    <a:pt x="1059" y="844"/>
                    <a:pt x="1061" y="843"/>
                  </a:cubicBezTo>
                  <a:cubicBezTo>
                    <a:pt x="1061" y="843"/>
                    <a:pt x="1061" y="843"/>
                    <a:pt x="1061" y="843"/>
                  </a:cubicBezTo>
                  <a:cubicBezTo>
                    <a:pt x="1061" y="842"/>
                    <a:pt x="1061" y="842"/>
                    <a:pt x="1061" y="842"/>
                  </a:cubicBezTo>
                  <a:cubicBezTo>
                    <a:pt x="1063" y="842"/>
                    <a:pt x="1064" y="841"/>
                    <a:pt x="1065" y="840"/>
                  </a:cubicBezTo>
                  <a:cubicBezTo>
                    <a:pt x="1066" y="840"/>
                    <a:pt x="1066" y="840"/>
                    <a:pt x="1066" y="840"/>
                  </a:cubicBezTo>
                  <a:cubicBezTo>
                    <a:pt x="1066" y="840"/>
                    <a:pt x="1066" y="840"/>
                    <a:pt x="1066" y="840"/>
                  </a:cubicBezTo>
                  <a:cubicBezTo>
                    <a:pt x="1068" y="839"/>
                    <a:pt x="1069" y="839"/>
                    <a:pt x="1070" y="839"/>
                  </a:cubicBezTo>
                  <a:cubicBezTo>
                    <a:pt x="1071" y="839"/>
                    <a:pt x="1071" y="839"/>
                    <a:pt x="1071" y="839"/>
                  </a:cubicBezTo>
                  <a:cubicBezTo>
                    <a:pt x="1071" y="839"/>
                    <a:pt x="1071" y="839"/>
                    <a:pt x="1071" y="839"/>
                  </a:cubicBezTo>
                  <a:cubicBezTo>
                    <a:pt x="1072" y="838"/>
                    <a:pt x="1074" y="838"/>
                    <a:pt x="1075" y="838"/>
                  </a:cubicBezTo>
                  <a:cubicBezTo>
                    <a:pt x="1077" y="838"/>
                    <a:pt x="1078" y="838"/>
                    <a:pt x="1080" y="839"/>
                  </a:cubicBezTo>
                  <a:cubicBezTo>
                    <a:pt x="1081" y="839"/>
                    <a:pt x="1081" y="839"/>
                    <a:pt x="1081" y="839"/>
                  </a:cubicBezTo>
                  <a:cubicBezTo>
                    <a:pt x="1082" y="839"/>
                    <a:pt x="1083" y="839"/>
                    <a:pt x="1085" y="840"/>
                  </a:cubicBezTo>
                  <a:cubicBezTo>
                    <a:pt x="1085" y="840"/>
                    <a:pt x="1085" y="840"/>
                    <a:pt x="1085" y="840"/>
                  </a:cubicBezTo>
                  <a:cubicBezTo>
                    <a:pt x="1086" y="840"/>
                    <a:pt x="1086" y="840"/>
                    <a:pt x="1086" y="840"/>
                  </a:cubicBezTo>
                  <a:cubicBezTo>
                    <a:pt x="1087" y="841"/>
                    <a:pt x="1088" y="842"/>
                    <a:pt x="1090" y="842"/>
                  </a:cubicBezTo>
                  <a:cubicBezTo>
                    <a:pt x="1090" y="843"/>
                    <a:pt x="1090" y="843"/>
                    <a:pt x="1090" y="843"/>
                  </a:cubicBezTo>
                  <a:cubicBezTo>
                    <a:pt x="1090" y="843"/>
                    <a:pt x="1090" y="843"/>
                    <a:pt x="1090" y="843"/>
                  </a:cubicBezTo>
                  <a:cubicBezTo>
                    <a:pt x="1092" y="844"/>
                    <a:pt x="1093" y="845"/>
                    <a:pt x="1094" y="846"/>
                  </a:cubicBezTo>
                  <a:cubicBezTo>
                    <a:pt x="1191" y="943"/>
                    <a:pt x="1191" y="943"/>
                    <a:pt x="1191" y="943"/>
                  </a:cubicBezTo>
                  <a:cubicBezTo>
                    <a:pt x="1196" y="948"/>
                    <a:pt x="1198" y="954"/>
                    <a:pt x="1198" y="961"/>
                  </a:cubicBezTo>
                  <a:cubicBezTo>
                    <a:pt x="1198" y="968"/>
                    <a:pt x="1196" y="975"/>
                    <a:pt x="1191" y="980"/>
                  </a:cubicBezTo>
                  <a:cubicBezTo>
                    <a:pt x="1186" y="985"/>
                    <a:pt x="1179" y="987"/>
                    <a:pt x="1172" y="987"/>
                  </a:cubicBezTo>
                  <a:cubicBezTo>
                    <a:pt x="1165" y="987"/>
                    <a:pt x="1158" y="985"/>
                    <a:pt x="1153" y="980"/>
                  </a:cubicBezTo>
                  <a:cubicBezTo>
                    <a:pt x="1102" y="928"/>
                    <a:pt x="1102" y="928"/>
                    <a:pt x="1102" y="928"/>
                  </a:cubicBezTo>
                  <a:cubicBezTo>
                    <a:pt x="1102" y="1328"/>
                    <a:pt x="1102" y="1328"/>
                    <a:pt x="1102" y="1328"/>
                  </a:cubicBezTo>
                  <a:cubicBezTo>
                    <a:pt x="1317" y="1200"/>
                    <a:pt x="1462" y="966"/>
                    <a:pt x="1462" y="698"/>
                  </a:cubicBezTo>
                  <a:lnTo>
                    <a:pt x="1402" y="6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bcgIcons_BusinessModels">
            <a:extLst>
              <a:ext uri="{FF2B5EF4-FFF2-40B4-BE49-F238E27FC236}">
                <a16:creationId xmlns="" xmlns:a16="http://schemas.microsoft.com/office/drawing/2014/main" id="{E3D8004E-E2D5-4723-97DB-B82604981907}"/>
              </a:ext>
            </a:extLst>
          </p:cNvPr>
          <p:cNvGrpSpPr>
            <a:grpSpLocks noChangeAspect="1"/>
          </p:cNvGrpSpPr>
          <p:nvPr/>
        </p:nvGrpSpPr>
        <p:grpSpPr bwMode="auto">
          <a:xfrm>
            <a:off x="7163649" y="2568770"/>
            <a:ext cx="663677" cy="664292"/>
            <a:chOff x="1682" y="0"/>
            <a:chExt cx="4316" cy="4320"/>
          </a:xfrm>
        </p:grpSpPr>
        <p:sp>
          <p:nvSpPr>
            <p:cNvPr id="62" name="AutoShape 3">
              <a:extLst>
                <a:ext uri="{FF2B5EF4-FFF2-40B4-BE49-F238E27FC236}">
                  <a16:creationId xmlns="" xmlns:a16="http://schemas.microsoft.com/office/drawing/2014/main" id="{5CBAB585-11B8-4110-BA84-4F4A75260F5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3" name="Freeform 62">
              <a:extLst>
                <a:ext uri="{FF2B5EF4-FFF2-40B4-BE49-F238E27FC236}">
                  <a16:creationId xmlns="" xmlns:a16="http://schemas.microsoft.com/office/drawing/2014/main"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4" name="Freeform 63">
              <a:extLst>
                <a:ext uri="{FF2B5EF4-FFF2-40B4-BE49-F238E27FC236}">
                  <a16:creationId xmlns="" xmlns:a16="http://schemas.microsoft.com/office/drawing/2014/main"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65" name="bcgIcons_Funnel">
            <a:extLst>
              <a:ext uri="{FF2B5EF4-FFF2-40B4-BE49-F238E27FC236}">
                <a16:creationId xmlns="" xmlns:a16="http://schemas.microsoft.com/office/drawing/2014/main" id="{2A722AE0-9A28-4F0E-AAE5-0744B87C2E0A}"/>
              </a:ext>
            </a:extLst>
          </p:cNvPr>
          <p:cNvGrpSpPr>
            <a:grpSpLocks noChangeAspect="1"/>
          </p:cNvGrpSpPr>
          <p:nvPr/>
        </p:nvGrpSpPr>
        <p:grpSpPr bwMode="auto">
          <a:xfrm>
            <a:off x="8749053" y="2568770"/>
            <a:ext cx="663677" cy="664292"/>
            <a:chOff x="1682" y="0"/>
            <a:chExt cx="4316" cy="4320"/>
          </a:xfrm>
        </p:grpSpPr>
        <p:sp>
          <p:nvSpPr>
            <p:cNvPr id="66" name="AutoShape 33">
              <a:extLst>
                <a:ext uri="{FF2B5EF4-FFF2-40B4-BE49-F238E27FC236}">
                  <a16:creationId xmlns="" xmlns:a16="http://schemas.microsoft.com/office/drawing/2014/main" id="{AA0180EA-9B31-4915-B604-516CB36193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5">
              <a:extLst>
                <a:ext uri="{FF2B5EF4-FFF2-40B4-BE49-F238E27FC236}">
                  <a16:creationId xmlns="" xmlns:a16="http://schemas.microsoft.com/office/drawing/2014/main" id="{164073BB-D2EA-4E54-AA57-1A5F8B399A0A}"/>
                </a:ext>
              </a:extLst>
            </p:cNvPr>
            <p:cNvSpPr>
              <a:spLocks noEditPoints="1"/>
            </p:cNvSpPr>
            <p:nvPr/>
          </p:nvSpPr>
          <p:spPr bwMode="auto">
            <a:xfrm>
              <a:off x="1978" y="831"/>
              <a:ext cx="3484" cy="2816"/>
            </a:xfrm>
            <a:custGeom>
              <a:avLst/>
              <a:gdLst>
                <a:gd name="T0" fmla="*/ 1860 w 1860"/>
                <a:gd name="T1" fmla="*/ 239 h 1502"/>
                <a:gd name="T2" fmla="*/ 1629 w 1860"/>
                <a:gd name="T3" fmla="*/ 65 h 1502"/>
                <a:gd name="T4" fmla="*/ 1104 w 1860"/>
                <a:gd name="T5" fmla="*/ 0 h 1502"/>
                <a:gd name="T6" fmla="*/ 392 w 1860"/>
                <a:gd name="T7" fmla="*/ 155 h 1502"/>
                <a:gd name="T8" fmla="*/ 226 w 1860"/>
                <a:gd name="T9" fmla="*/ 120 h 1502"/>
                <a:gd name="T10" fmla="*/ 0 w 1860"/>
                <a:gd name="T11" fmla="*/ 234 h 1502"/>
                <a:gd name="T12" fmla="*/ 226 w 1860"/>
                <a:gd name="T13" fmla="*/ 349 h 1502"/>
                <a:gd name="T14" fmla="*/ 365 w 1860"/>
                <a:gd name="T15" fmla="*/ 325 h 1502"/>
                <a:gd name="T16" fmla="*/ 382 w 1860"/>
                <a:gd name="T17" fmla="*/ 377 h 1502"/>
                <a:gd name="T18" fmla="*/ 921 w 1860"/>
                <a:gd name="T19" fmla="*/ 1207 h 1502"/>
                <a:gd name="T20" fmla="*/ 1014 w 1860"/>
                <a:gd name="T21" fmla="*/ 1465 h 1502"/>
                <a:gd name="T22" fmla="*/ 1018 w 1860"/>
                <a:gd name="T23" fmla="*/ 1468 h 1502"/>
                <a:gd name="T24" fmla="*/ 1096 w 1860"/>
                <a:gd name="T25" fmla="*/ 1502 h 1502"/>
                <a:gd name="T26" fmla="*/ 1113 w 1860"/>
                <a:gd name="T27" fmla="*/ 1502 h 1502"/>
                <a:gd name="T28" fmla="*/ 1191 w 1860"/>
                <a:gd name="T29" fmla="*/ 1468 h 1502"/>
                <a:gd name="T30" fmla="*/ 1195 w 1860"/>
                <a:gd name="T31" fmla="*/ 1465 h 1502"/>
                <a:gd name="T32" fmla="*/ 1288 w 1860"/>
                <a:gd name="T33" fmla="*/ 1207 h 1502"/>
                <a:gd name="T34" fmla="*/ 1827 w 1860"/>
                <a:gd name="T35" fmla="*/ 376 h 1502"/>
                <a:gd name="T36" fmla="*/ 1858 w 1860"/>
                <a:gd name="T37" fmla="*/ 259 h 1502"/>
                <a:gd name="T38" fmla="*/ 1858 w 1860"/>
                <a:gd name="T39" fmla="*/ 259 h 1502"/>
                <a:gd name="T40" fmla="*/ 1860 w 1860"/>
                <a:gd name="T41" fmla="*/ 239 h 1502"/>
                <a:gd name="T42" fmla="*/ 44 w 1860"/>
                <a:gd name="T43" fmla="*/ 234 h 1502"/>
                <a:gd name="T44" fmla="*/ 226 w 1860"/>
                <a:gd name="T45" fmla="*/ 164 h 1502"/>
                <a:gd name="T46" fmla="*/ 383 w 1860"/>
                <a:gd name="T47" fmla="*/ 201 h 1502"/>
                <a:gd name="T48" fmla="*/ 398 w 1860"/>
                <a:gd name="T49" fmla="*/ 211 h 1502"/>
                <a:gd name="T50" fmla="*/ 411 w 1860"/>
                <a:gd name="T51" fmla="*/ 197 h 1502"/>
                <a:gd name="T52" fmla="*/ 1104 w 1860"/>
                <a:gd name="T53" fmla="*/ 44 h 1502"/>
                <a:gd name="T54" fmla="*/ 1816 w 1860"/>
                <a:gd name="T55" fmla="*/ 239 h 1502"/>
                <a:gd name="T56" fmla="*/ 1104 w 1860"/>
                <a:gd name="T57" fmla="*/ 435 h 1502"/>
                <a:gd name="T58" fmla="*/ 406 w 1860"/>
                <a:gd name="T59" fmla="*/ 276 h 1502"/>
                <a:gd name="T60" fmla="*/ 394 w 1860"/>
                <a:gd name="T61" fmla="*/ 260 h 1502"/>
                <a:gd name="T62" fmla="*/ 377 w 1860"/>
                <a:gd name="T63" fmla="*/ 271 h 1502"/>
                <a:gd name="T64" fmla="*/ 226 w 1860"/>
                <a:gd name="T65" fmla="*/ 305 h 1502"/>
                <a:gd name="T66" fmla="*/ 44 w 1860"/>
                <a:gd name="T67" fmla="*/ 234 h 1502"/>
                <a:gd name="T68" fmla="*/ 1250 w 1860"/>
                <a:gd name="T69" fmla="*/ 1185 h 1502"/>
                <a:gd name="T70" fmla="*/ 1248 w 1860"/>
                <a:gd name="T71" fmla="*/ 1187 h 1502"/>
                <a:gd name="T72" fmla="*/ 1157 w 1860"/>
                <a:gd name="T73" fmla="*/ 1440 h 1502"/>
                <a:gd name="T74" fmla="*/ 1113 w 1860"/>
                <a:gd name="T75" fmla="*/ 1458 h 1502"/>
                <a:gd name="T76" fmla="*/ 1096 w 1860"/>
                <a:gd name="T77" fmla="*/ 1458 h 1502"/>
                <a:gd name="T78" fmla="*/ 1052 w 1860"/>
                <a:gd name="T79" fmla="*/ 1440 h 1502"/>
                <a:gd name="T80" fmla="*/ 961 w 1860"/>
                <a:gd name="T81" fmla="*/ 1187 h 1502"/>
                <a:gd name="T82" fmla="*/ 422 w 1860"/>
                <a:gd name="T83" fmla="*/ 358 h 1502"/>
                <a:gd name="T84" fmla="*/ 418 w 1860"/>
                <a:gd name="T85" fmla="*/ 344 h 1502"/>
                <a:gd name="T86" fmla="*/ 639 w 1860"/>
                <a:gd name="T87" fmla="*/ 431 h 1502"/>
                <a:gd name="T88" fmla="*/ 1104 w 1860"/>
                <a:gd name="T89" fmla="*/ 479 h 1502"/>
                <a:gd name="T90" fmla="*/ 1629 w 1860"/>
                <a:gd name="T91" fmla="*/ 414 h 1502"/>
                <a:gd name="T92" fmla="*/ 1790 w 1860"/>
                <a:gd name="T93" fmla="*/ 345 h 1502"/>
                <a:gd name="T94" fmla="*/ 1786 w 1860"/>
                <a:gd name="T95" fmla="*/ 358 h 1502"/>
                <a:gd name="T96" fmla="*/ 1250 w 1860"/>
                <a:gd name="T97" fmla="*/ 118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0" h="1502">
                  <a:moveTo>
                    <a:pt x="1860" y="239"/>
                  </a:moveTo>
                  <a:cubicBezTo>
                    <a:pt x="1860" y="170"/>
                    <a:pt x="1781" y="109"/>
                    <a:pt x="1629" y="65"/>
                  </a:cubicBezTo>
                  <a:cubicBezTo>
                    <a:pt x="1489" y="23"/>
                    <a:pt x="1302" y="0"/>
                    <a:pt x="1104" y="0"/>
                  </a:cubicBezTo>
                  <a:cubicBezTo>
                    <a:pt x="776" y="0"/>
                    <a:pt x="495" y="62"/>
                    <a:pt x="392" y="155"/>
                  </a:cubicBezTo>
                  <a:cubicBezTo>
                    <a:pt x="350" y="133"/>
                    <a:pt x="289" y="120"/>
                    <a:pt x="226" y="120"/>
                  </a:cubicBezTo>
                  <a:cubicBezTo>
                    <a:pt x="97" y="120"/>
                    <a:pt x="0" y="169"/>
                    <a:pt x="0" y="234"/>
                  </a:cubicBezTo>
                  <a:cubicBezTo>
                    <a:pt x="0" y="299"/>
                    <a:pt x="97" y="349"/>
                    <a:pt x="226" y="349"/>
                  </a:cubicBezTo>
                  <a:cubicBezTo>
                    <a:pt x="278" y="349"/>
                    <a:pt x="326" y="340"/>
                    <a:pt x="365" y="325"/>
                  </a:cubicBezTo>
                  <a:cubicBezTo>
                    <a:pt x="382" y="377"/>
                    <a:pt x="382" y="377"/>
                    <a:pt x="382" y="377"/>
                  </a:cubicBezTo>
                  <a:cubicBezTo>
                    <a:pt x="921" y="1207"/>
                    <a:pt x="921" y="1207"/>
                    <a:pt x="921" y="1207"/>
                  </a:cubicBezTo>
                  <a:cubicBezTo>
                    <a:pt x="1014" y="1465"/>
                    <a:pt x="1014" y="1465"/>
                    <a:pt x="1014" y="1465"/>
                  </a:cubicBezTo>
                  <a:cubicBezTo>
                    <a:pt x="1018" y="1468"/>
                    <a:pt x="1018" y="1468"/>
                    <a:pt x="1018" y="1468"/>
                  </a:cubicBezTo>
                  <a:cubicBezTo>
                    <a:pt x="1019" y="1470"/>
                    <a:pt x="1052" y="1502"/>
                    <a:pt x="1096" y="1502"/>
                  </a:cubicBezTo>
                  <a:cubicBezTo>
                    <a:pt x="1113" y="1502"/>
                    <a:pt x="1113" y="1502"/>
                    <a:pt x="1113" y="1502"/>
                  </a:cubicBezTo>
                  <a:cubicBezTo>
                    <a:pt x="1157" y="1502"/>
                    <a:pt x="1190" y="1470"/>
                    <a:pt x="1191" y="1468"/>
                  </a:cubicBezTo>
                  <a:cubicBezTo>
                    <a:pt x="1195" y="1465"/>
                    <a:pt x="1195" y="1465"/>
                    <a:pt x="1195" y="1465"/>
                  </a:cubicBezTo>
                  <a:cubicBezTo>
                    <a:pt x="1288" y="1207"/>
                    <a:pt x="1288" y="1207"/>
                    <a:pt x="1288" y="1207"/>
                  </a:cubicBezTo>
                  <a:cubicBezTo>
                    <a:pt x="1827" y="376"/>
                    <a:pt x="1827" y="376"/>
                    <a:pt x="1827" y="376"/>
                  </a:cubicBezTo>
                  <a:cubicBezTo>
                    <a:pt x="1858" y="259"/>
                    <a:pt x="1858" y="259"/>
                    <a:pt x="1858" y="259"/>
                  </a:cubicBezTo>
                  <a:cubicBezTo>
                    <a:pt x="1858" y="259"/>
                    <a:pt x="1858" y="259"/>
                    <a:pt x="1858" y="259"/>
                  </a:cubicBezTo>
                  <a:cubicBezTo>
                    <a:pt x="1860" y="253"/>
                    <a:pt x="1860" y="246"/>
                    <a:pt x="1860" y="239"/>
                  </a:cubicBezTo>
                  <a:close/>
                  <a:moveTo>
                    <a:pt x="44" y="234"/>
                  </a:moveTo>
                  <a:cubicBezTo>
                    <a:pt x="44" y="205"/>
                    <a:pt x="113" y="164"/>
                    <a:pt x="226" y="164"/>
                  </a:cubicBezTo>
                  <a:cubicBezTo>
                    <a:pt x="289" y="164"/>
                    <a:pt x="348" y="177"/>
                    <a:pt x="383" y="201"/>
                  </a:cubicBezTo>
                  <a:cubicBezTo>
                    <a:pt x="398" y="211"/>
                    <a:pt x="398" y="211"/>
                    <a:pt x="398" y="211"/>
                  </a:cubicBezTo>
                  <a:cubicBezTo>
                    <a:pt x="411" y="197"/>
                    <a:pt x="411" y="197"/>
                    <a:pt x="411" y="197"/>
                  </a:cubicBezTo>
                  <a:cubicBezTo>
                    <a:pt x="492" y="108"/>
                    <a:pt x="784" y="44"/>
                    <a:pt x="1104" y="44"/>
                  </a:cubicBezTo>
                  <a:cubicBezTo>
                    <a:pt x="1524" y="44"/>
                    <a:pt x="1816" y="147"/>
                    <a:pt x="1816" y="239"/>
                  </a:cubicBezTo>
                  <a:cubicBezTo>
                    <a:pt x="1816" y="332"/>
                    <a:pt x="1524" y="435"/>
                    <a:pt x="1104" y="435"/>
                  </a:cubicBezTo>
                  <a:cubicBezTo>
                    <a:pt x="729" y="435"/>
                    <a:pt x="469" y="355"/>
                    <a:pt x="406" y="276"/>
                  </a:cubicBezTo>
                  <a:cubicBezTo>
                    <a:pt x="394" y="260"/>
                    <a:pt x="394" y="260"/>
                    <a:pt x="394" y="260"/>
                  </a:cubicBezTo>
                  <a:cubicBezTo>
                    <a:pt x="377" y="271"/>
                    <a:pt x="377" y="271"/>
                    <a:pt x="377" y="271"/>
                  </a:cubicBezTo>
                  <a:cubicBezTo>
                    <a:pt x="342" y="292"/>
                    <a:pt x="286" y="305"/>
                    <a:pt x="226" y="305"/>
                  </a:cubicBezTo>
                  <a:cubicBezTo>
                    <a:pt x="113" y="305"/>
                    <a:pt x="44" y="263"/>
                    <a:pt x="44" y="234"/>
                  </a:cubicBezTo>
                  <a:close/>
                  <a:moveTo>
                    <a:pt x="1250" y="1185"/>
                  </a:moveTo>
                  <a:cubicBezTo>
                    <a:pt x="1248" y="1187"/>
                    <a:pt x="1248" y="1187"/>
                    <a:pt x="1248" y="1187"/>
                  </a:cubicBezTo>
                  <a:cubicBezTo>
                    <a:pt x="1157" y="1440"/>
                    <a:pt x="1157" y="1440"/>
                    <a:pt x="1157" y="1440"/>
                  </a:cubicBezTo>
                  <a:cubicBezTo>
                    <a:pt x="1150" y="1446"/>
                    <a:pt x="1133" y="1458"/>
                    <a:pt x="1113" y="1458"/>
                  </a:cubicBezTo>
                  <a:cubicBezTo>
                    <a:pt x="1096" y="1458"/>
                    <a:pt x="1096" y="1458"/>
                    <a:pt x="1096" y="1458"/>
                  </a:cubicBezTo>
                  <a:cubicBezTo>
                    <a:pt x="1076" y="1458"/>
                    <a:pt x="1059" y="1446"/>
                    <a:pt x="1052" y="1440"/>
                  </a:cubicBezTo>
                  <a:cubicBezTo>
                    <a:pt x="961" y="1187"/>
                    <a:pt x="961" y="1187"/>
                    <a:pt x="961" y="1187"/>
                  </a:cubicBezTo>
                  <a:cubicBezTo>
                    <a:pt x="422" y="358"/>
                    <a:pt x="422" y="358"/>
                    <a:pt x="422" y="358"/>
                  </a:cubicBezTo>
                  <a:cubicBezTo>
                    <a:pt x="418" y="344"/>
                    <a:pt x="418" y="344"/>
                    <a:pt x="418" y="344"/>
                  </a:cubicBezTo>
                  <a:cubicBezTo>
                    <a:pt x="479" y="386"/>
                    <a:pt x="568" y="414"/>
                    <a:pt x="639" y="431"/>
                  </a:cubicBezTo>
                  <a:cubicBezTo>
                    <a:pt x="773" y="462"/>
                    <a:pt x="933" y="479"/>
                    <a:pt x="1104" y="479"/>
                  </a:cubicBezTo>
                  <a:cubicBezTo>
                    <a:pt x="1302" y="479"/>
                    <a:pt x="1489" y="456"/>
                    <a:pt x="1629" y="414"/>
                  </a:cubicBezTo>
                  <a:cubicBezTo>
                    <a:pt x="1698" y="394"/>
                    <a:pt x="1752" y="371"/>
                    <a:pt x="1790" y="345"/>
                  </a:cubicBezTo>
                  <a:cubicBezTo>
                    <a:pt x="1786" y="358"/>
                    <a:pt x="1786" y="358"/>
                    <a:pt x="1786" y="358"/>
                  </a:cubicBezTo>
                  <a:lnTo>
                    <a:pt x="1250" y="118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36">
              <a:extLst>
                <a:ext uri="{FF2B5EF4-FFF2-40B4-BE49-F238E27FC236}">
                  <a16:creationId xmlns="" xmlns:a16="http://schemas.microsoft.com/office/drawing/2014/main" id="{61623AB7-78B2-449F-9775-B5FD995DB3D2}"/>
                </a:ext>
              </a:extLst>
            </p:cNvPr>
            <p:cNvSpPr>
              <a:spLocks noEditPoints="1"/>
            </p:cNvSpPr>
            <p:nvPr/>
          </p:nvSpPr>
          <p:spPr bwMode="auto">
            <a:xfrm>
              <a:off x="2177" y="996"/>
              <a:ext cx="3122" cy="2486"/>
            </a:xfrm>
            <a:custGeom>
              <a:avLst/>
              <a:gdLst>
                <a:gd name="T0" fmla="*/ 894 w 1667"/>
                <a:gd name="T1" fmla="*/ 1079 h 1326"/>
                <a:gd name="T2" fmla="*/ 426 w 1667"/>
                <a:gd name="T3" fmla="*/ 358 h 1326"/>
                <a:gd name="T4" fmla="*/ 523 w 1667"/>
                <a:gd name="T5" fmla="*/ 385 h 1326"/>
                <a:gd name="T6" fmla="*/ 998 w 1667"/>
                <a:gd name="T7" fmla="*/ 435 h 1326"/>
                <a:gd name="T8" fmla="*/ 1536 w 1667"/>
                <a:gd name="T9" fmla="*/ 369 h 1326"/>
                <a:gd name="T10" fmla="*/ 1571 w 1667"/>
                <a:gd name="T11" fmla="*/ 357 h 1326"/>
                <a:gd name="T12" fmla="*/ 1103 w 1667"/>
                <a:gd name="T13" fmla="*/ 1079 h 1326"/>
                <a:gd name="T14" fmla="*/ 1014 w 1667"/>
                <a:gd name="T15" fmla="*/ 1324 h 1326"/>
                <a:gd name="T16" fmla="*/ 1007 w 1667"/>
                <a:gd name="T17" fmla="*/ 1326 h 1326"/>
                <a:gd name="T18" fmla="*/ 990 w 1667"/>
                <a:gd name="T19" fmla="*/ 1326 h 1326"/>
                <a:gd name="T20" fmla="*/ 983 w 1667"/>
                <a:gd name="T21" fmla="*/ 1324 h 1326"/>
                <a:gd name="T22" fmla="*/ 894 w 1667"/>
                <a:gd name="T23" fmla="*/ 1079 h 1326"/>
                <a:gd name="T24" fmla="*/ 335 w 1667"/>
                <a:gd name="T25" fmla="*/ 160 h 1326"/>
                <a:gd name="T26" fmla="*/ 998 w 1667"/>
                <a:gd name="T27" fmla="*/ 303 h 1326"/>
                <a:gd name="T28" fmla="*/ 1664 w 1667"/>
                <a:gd name="T29" fmla="*/ 157 h 1326"/>
                <a:gd name="T30" fmla="*/ 1666 w 1667"/>
                <a:gd name="T31" fmla="*/ 149 h 1326"/>
                <a:gd name="T32" fmla="*/ 1498 w 1667"/>
                <a:gd name="T33" fmla="*/ 61 h 1326"/>
                <a:gd name="T34" fmla="*/ 998 w 1667"/>
                <a:gd name="T35" fmla="*/ 0 h 1326"/>
                <a:gd name="T36" fmla="*/ 571 w 1667"/>
                <a:gd name="T37" fmla="*/ 42 h 1326"/>
                <a:gd name="T38" fmla="*/ 338 w 1667"/>
                <a:gd name="T39" fmla="*/ 139 h 1326"/>
                <a:gd name="T40" fmla="*/ 335 w 1667"/>
                <a:gd name="T41" fmla="*/ 160 h 1326"/>
                <a:gd name="T42" fmla="*/ 120 w 1667"/>
                <a:gd name="T43" fmla="*/ 171 h 1326"/>
                <a:gd name="T44" fmla="*/ 240 w 1667"/>
                <a:gd name="T45" fmla="*/ 146 h 1326"/>
                <a:gd name="T46" fmla="*/ 120 w 1667"/>
                <a:gd name="T47" fmla="*/ 120 h 1326"/>
                <a:gd name="T48" fmla="*/ 0 w 1667"/>
                <a:gd name="T49" fmla="*/ 146 h 1326"/>
                <a:gd name="T50" fmla="*/ 120 w 1667"/>
                <a:gd name="T51" fmla="*/ 171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7" h="1326">
                  <a:moveTo>
                    <a:pt x="894" y="1079"/>
                  </a:moveTo>
                  <a:cubicBezTo>
                    <a:pt x="426" y="358"/>
                    <a:pt x="426" y="358"/>
                    <a:pt x="426" y="358"/>
                  </a:cubicBezTo>
                  <a:cubicBezTo>
                    <a:pt x="456" y="368"/>
                    <a:pt x="488" y="377"/>
                    <a:pt x="523" y="385"/>
                  </a:cubicBezTo>
                  <a:cubicBezTo>
                    <a:pt x="660" y="418"/>
                    <a:pt x="824" y="435"/>
                    <a:pt x="998" y="435"/>
                  </a:cubicBezTo>
                  <a:cubicBezTo>
                    <a:pt x="1200" y="435"/>
                    <a:pt x="1391" y="411"/>
                    <a:pt x="1536" y="369"/>
                  </a:cubicBezTo>
                  <a:cubicBezTo>
                    <a:pt x="1548" y="365"/>
                    <a:pt x="1560" y="361"/>
                    <a:pt x="1571" y="357"/>
                  </a:cubicBezTo>
                  <a:cubicBezTo>
                    <a:pt x="1103" y="1079"/>
                    <a:pt x="1103" y="1079"/>
                    <a:pt x="1103" y="1079"/>
                  </a:cubicBezTo>
                  <a:cubicBezTo>
                    <a:pt x="1014" y="1324"/>
                    <a:pt x="1014" y="1324"/>
                    <a:pt x="1014" y="1324"/>
                  </a:cubicBezTo>
                  <a:cubicBezTo>
                    <a:pt x="1011" y="1325"/>
                    <a:pt x="1009" y="1326"/>
                    <a:pt x="1007" y="1326"/>
                  </a:cubicBezTo>
                  <a:cubicBezTo>
                    <a:pt x="990" y="1326"/>
                    <a:pt x="990" y="1326"/>
                    <a:pt x="990" y="1326"/>
                  </a:cubicBezTo>
                  <a:cubicBezTo>
                    <a:pt x="988" y="1326"/>
                    <a:pt x="986" y="1325"/>
                    <a:pt x="983" y="1324"/>
                  </a:cubicBezTo>
                  <a:lnTo>
                    <a:pt x="894" y="1079"/>
                  </a:lnTo>
                  <a:close/>
                  <a:moveTo>
                    <a:pt x="335" y="160"/>
                  </a:moveTo>
                  <a:cubicBezTo>
                    <a:pt x="382" y="220"/>
                    <a:pt x="618" y="303"/>
                    <a:pt x="998" y="303"/>
                  </a:cubicBezTo>
                  <a:cubicBezTo>
                    <a:pt x="1406" y="303"/>
                    <a:pt x="1632" y="208"/>
                    <a:pt x="1664" y="157"/>
                  </a:cubicBezTo>
                  <a:cubicBezTo>
                    <a:pt x="1667" y="152"/>
                    <a:pt x="1666" y="149"/>
                    <a:pt x="1666" y="149"/>
                  </a:cubicBezTo>
                  <a:cubicBezTo>
                    <a:pt x="1661" y="138"/>
                    <a:pt x="1626" y="99"/>
                    <a:pt x="1498" y="61"/>
                  </a:cubicBezTo>
                  <a:cubicBezTo>
                    <a:pt x="1365" y="22"/>
                    <a:pt x="1188" y="0"/>
                    <a:pt x="998" y="0"/>
                  </a:cubicBezTo>
                  <a:cubicBezTo>
                    <a:pt x="846" y="0"/>
                    <a:pt x="695" y="15"/>
                    <a:pt x="571" y="42"/>
                  </a:cubicBezTo>
                  <a:cubicBezTo>
                    <a:pt x="407" y="79"/>
                    <a:pt x="353" y="122"/>
                    <a:pt x="338" y="139"/>
                  </a:cubicBezTo>
                  <a:cubicBezTo>
                    <a:pt x="338" y="139"/>
                    <a:pt x="326" y="150"/>
                    <a:pt x="335" y="160"/>
                  </a:cubicBezTo>
                  <a:close/>
                  <a:moveTo>
                    <a:pt x="120" y="171"/>
                  </a:moveTo>
                  <a:cubicBezTo>
                    <a:pt x="186" y="171"/>
                    <a:pt x="240" y="160"/>
                    <a:pt x="240" y="146"/>
                  </a:cubicBezTo>
                  <a:cubicBezTo>
                    <a:pt x="240" y="131"/>
                    <a:pt x="186" y="120"/>
                    <a:pt x="120" y="120"/>
                  </a:cubicBezTo>
                  <a:cubicBezTo>
                    <a:pt x="54" y="120"/>
                    <a:pt x="0" y="131"/>
                    <a:pt x="0" y="146"/>
                  </a:cubicBezTo>
                  <a:cubicBezTo>
                    <a:pt x="0" y="160"/>
                    <a:pt x="54" y="171"/>
                    <a:pt x="120" y="1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p:cNvGrpSpPr>
            <a:grpSpLocks noChangeAspect="1"/>
          </p:cNvGrpSpPr>
          <p:nvPr/>
        </p:nvGrpSpPr>
        <p:grpSpPr>
          <a:xfrm>
            <a:off x="10334149" y="2568770"/>
            <a:ext cx="664292" cy="664292"/>
            <a:chOff x="5267325" y="2609850"/>
            <a:chExt cx="1657350" cy="1657350"/>
          </a:xfrm>
        </p:grpSpPr>
        <p:sp>
          <p:nvSpPr>
            <p:cNvPr id="70" name="AutoShape 53"/>
            <p:cNvSpPr>
              <a:spLocks noChangeAspect="1" noChangeArrowheads="1" noTextEdit="1"/>
            </p:cNvSpPr>
            <p:nvPr/>
          </p:nvSpPr>
          <p:spPr bwMode="auto">
            <a:xfrm>
              <a:off x="5267325" y="2609850"/>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1" name="Group 70"/>
            <p:cNvGrpSpPr/>
            <p:nvPr/>
          </p:nvGrpSpPr>
          <p:grpSpPr>
            <a:xfrm>
              <a:off x="5432425" y="2965450"/>
              <a:ext cx="1323975" cy="944563"/>
              <a:chOff x="5432425" y="2965450"/>
              <a:chExt cx="1323975" cy="944563"/>
            </a:xfrm>
          </p:grpSpPr>
          <p:sp>
            <p:nvSpPr>
              <p:cNvPr id="72" name="Freeform 71"/>
              <p:cNvSpPr>
                <a:spLocks/>
              </p:cNvSpPr>
              <p:nvPr/>
            </p:nvSpPr>
            <p:spPr bwMode="auto">
              <a:xfrm>
                <a:off x="5432425" y="2965450"/>
                <a:ext cx="1323975" cy="944563"/>
              </a:xfrm>
              <a:custGeom>
                <a:avLst/>
                <a:gdLst>
                  <a:gd name="connsiteX0" fmla="*/ 1187662 w 1323975"/>
                  <a:gd name="connsiteY0" fmla="*/ 113712 h 944563"/>
                  <a:gd name="connsiteX1" fmla="*/ 1209253 w 1323975"/>
                  <a:gd name="connsiteY1" fmla="*/ 132438 h 944563"/>
                  <a:gd name="connsiteX2" fmla="*/ 1145921 w 1323975"/>
                  <a:gd name="connsiteY2" fmla="*/ 362190 h 944563"/>
                  <a:gd name="connsiteX3" fmla="*/ 1129368 w 1323975"/>
                  <a:gd name="connsiteY3" fmla="*/ 367232 h 944563"/>
                  <a:gd name="connsiteX4" fmla="*/ 1081150 w 1323975"/>
                  <a:gd name="connsiteY4" fmla="*/ 326179 h 944563"/>
                  <a:gd name="connsiteX5" fmla="*/ 1066756 w 1323975"/>
                  <a:gd name="connsiteY5" fmla="*/ 327619 h 944563"/>
                  <a:gd name="connsiteX6" fmla="*/ 1038689 w 1323975"/>
                  <a:gd name="connsiteY6" fmla="*/ 359309 h 944563"/>
                  <a:gd name="connsiteX7" fmla="*/ 898351 w 1323975"/>
                  <a:gd name="connsiteY7" fmla="*/ 528563 h 944563"/>
                  <a:gd name="connsiteX8" fmla="*/ 884677 w 1323975"/>
                  <a:gd name="connsiteY8" fmla="*/ 530723 h 944563"/>
                  <a:gd name="connsiteX9" fmla="*/ 871723 w 1323975"/>
                  <a:gd name="connsiteY9" fmla="*/ 521360 h 944563"/>
                  <a:gd name="connsiteX10" fmla="*/ 846534 w 1323975"/>
                  <a:gd name="connsiteY10" fmla="*/ 505515 h 944563"/>
                  <a:gd name="connsiteX11" fmla="*/ 845814 w 1323975"/>
                  <a:gd name="connsiteY11" fmla="*/ 505515 h 944563"/>
                  <a:gd name="connsiteX12" fmla="*/ 712673 w 1323975"/>
                  <a:gd name="connsiteY12" fmla="*/ 411166 h 944563"/>
                  <a:gd name="connsiteX13" fmla="*/ 698999 w 1323975"/>
                  <a:gd name="connsiteY13" fmla="*/ 412606 h 944563"/>
                  <a:gd name="connsiteX14" fmla="*/ 678129 w 1323975"/>
                  <a:gd name="connsiteY14" fmla="*/ 435653 h 944563"/>
                  <a:gd name="connsiteX15" fmla="*/ 652940 w 1323975"/>
                  <a:gd name="connsiteY15" fmla="*/ 464462 h 944563"/>
                  <a:gd name="connsiteX16" fmla="*/ 483095 w 1323975"/>
                  <a:gd name="connsiteY16" fmla="*/ 650281 h 944563"/>
                  <a:gd name="connsiteX17" fmla="*/ 463664 w 1323975"/>
                  <a:gd name="connsiteY17" fmla="*/ 671888 h 944563"/>
                  <a:gd name="connsiteX18" fmla="*/ 444952 w 1323975"/>
                  <a:gd name="connsiteY18" fmla="*/ 675489 h 944563"/>
                  <a:gd name="connsiteX19" fmla="*/ 304615 w 1323975"/>
                  <a:gd name="connsiteY19" fmla="*/ 606347 h 944563"/>
                  <a:gd name="connsiteX20" fmla="*/ 291660 w 1323975"/>
                  <a:gd name="connsiteY20" fmla="*/ 609228 h 944563"/>
                  <a:gd name="connsiteX21" fmla="*/ 285903 w 1323975"/>
                  <a:gd name="connsiteY21" fmla="*/ 617151 h 944563"/>
                  <a:gd name="connsiteX22" fmla="*/ 259275 w 1323975"/>
                  <a:gd name="connsiteY22" fmla="*/ 648841 h 944563"/>
                  <a:gd name="connsiteX23" fmla="*/ 90870 w 1323975"/>
                  <a:gd name="connsiteY23" fmla="*/ 846183 h 944563"/>
                  <a:gd name="connsiteX24" fmla="*/ 71438 w 1323975"/>
                  <a:gd name="connsiteY24" fmla="*/ 869950 h 944563"/>
                  <a:gd name="connsiteX25" fmla="*/ 90870 w 1323975"/>
                  <a:gd name="connsiteY25" fmla="*/ 843302 h 944563"/>
                  <a:gd name="connsiteX26" fmla="*/ 259275 w 1323975"/>
                  <a:gd name="connsiteY26" fmla="*/ 609228 h 944563"/>
                  <a:gd name="connsiteX27" fmla="*/ 280865 w 1323975"/>
                  <a:gd name="connsiteY27" fmla="*/ 578978 h 944563"/>
                  <a:gd name="connsiteX28" fmla="*/ 293100 w 1323975"/>
                  <a:gd name="connsiteY28" fmla="*/ 575377 h 944563"/>
                  <a:gd name="connsiteX29" fmla="*/ 440634 w 1323975"/>
                  <a:gd name="connsiteY29" fmla="*/ 631555 h 944563"/>
                  <a:gd name="connsiteX30" fmla="*/ 452869 w 1323975"/>
                  <a:gd name="connsiteY30" fmla="*/ 627954 h 944563"/>
                  <a:gd name="connsiteX31" fmla="*/ 483095 w 1323975"/>
                  <a:gd name="connsiteY31" fmla="*/ 589782 h 944563"/>
                  <a:gd name="connsiteX32" fmla="*/ 652940 w 1323975"/>
                  <a:gd name="connsiteY32" fmla="*/ 380196 h 944563"/>
                  <a:gd name="connsiteX33" fmla="*/ 678129 w 1323975"/>
                  <a:gd name="connsiteY33" fmla="*/ 348506 h 944563"/>
                  <a:gd name="connsiteX34" fmla="*/ 688204 w 1323975"/>
                  <a:gd name="connsiteY34" fmla="*/ 334822 h 944563"/>
                  <a:gd name="connsiteX35" fmla="*/ 701878 w 1323975"/>
                  <a:gd name="connsiteY35" fmla="*/ 332661 h 944563"/>
                  <a:gd name="connsiteX36" fmla="*/ 846534 w 1323975"/>
                  <a:gd name="connsiteY36" fmla="*/ 422689 h 944563"/>
                  <a:gd name="connsiteX37" fmla="*/ 871723 w 1323975"/>
                  <a:gd name="connsiteY37" fmla="*/ 438534 h 944563"/>
                  <a:gd name="connsiteX38" fmla="*/ 871723 w 1323975"/>
                  <a:gd name="connsiteY38" fmla="*/ 439254 h 944563"/>
                  <a:gd name="connsiteX39" fmla="*/ 885397 w 1323975"/>
                  <a:gd name="connsiteY39" fmla="*/ 436374 h 944563"/>
                  <a:gd name="connsiteX40" fmla="*/ 1011341 w 1323975"/>
                  <a:gd name="connsiteY40" fmla="*/ 281525 h 944563"/>
                  <a:gd name="connsiteX41" fmla="*/ 1009182 w 1323975"/>
                  <a:gd name="connsiteY41" fmla="*/ 267120 h 944563"/>
                  <a:gd name="connsiteX42" fmla="*/ 962402 w 1323975"/>
                  <a:gd name="connsiteY42" fmla="*/ 230389 h 944563"/>
                  <a:gd name="connsiteX43" fmla="*/ 964562 w 1323975"/>
                  <a:gd name="connsiteY43" fmla="*/ 212383 h 944563"/>
                  <a:gd name="connsiteX44" fmla="*/ 974637 w 1323975"/>
                  <a:gd name="connsiteY44" fmla="*/ 208062 h 944563"/>
                  <a:gd name="connsiteX45" fmla="*/ 1187662 w 1323975"/>
                  <a:gd name="connsiteY45" fmla="*/ 113712 h 944563"/>
                  <a:gd name="connsiteX46" fmla="*/ 31750 w 1323975"/>
                  <a:gd name="connsiteY46" fmla="*/ 31750 h 944563"/>
                  <a:gd name="connsiteX47" fmla="*/ 31750 w 1323975"/>
                  <a:gd name="connsiteY47" fmla="*/ 912813 h 944563"/>
                  <a:gd name="connsiteX48" fmla="*/ 1292225 w 1323975"/>
                  <a:gd name="connsiteY48" fmla="*/ 912813 h 944563"/>
                  <a:gd name="connsiteX49" fmla="*/ 1292225 w 1323975"/>
                  <a:gd name="connsiteY49" fmla="*/ 31750 h 944563"/>
                  <a:gd name="connsiteX50" fmla="*/ 31750 w 1323975"/>
                  <a:gd name="connsiteY50" fmla="*/ 31750 h 944563"/>
                  <a:gd name="connsiteX51" fmla="*/ 31661 w 1323975"/>
                  <a:gd name="connsiteY51" fmla="*/ 0 h 944563"/>
                  <a:gd name="connsiteX52" fmla="*/ 1292315 w 1323975"/>
                  <a:gd name="connsiteY52" fmla="*/ 0 h 944563"/>
                  <a:gd name="connsiteX53" fmla="*/ 1323975 w 1323975"/>
                  <a:gd name="connsiteY53" fmla="*/ 31678 h 944563"/>
                  <a:gd name="connsiteX54" fmla="*/ 1323975 w 1323975"/>
                  <a:gd name="connsiteY54" fmla="*/ 913606 h 944563"/>
                  <a:gd name="connsiteX55" fmla="*/ 1292315 w 1323975"/>
                  <a:gd name="connsiteY55" fmla="*/ 944563 h 944563"/>
                  <a:gd name="connsiteX56" fmla="*/ 31661 w 1323975"/>
                  <a:gd name="connsiteY56" fmla="*/ 944563 h 944563"/>
                  <a:gd name="connsiteX57" fmla="*/ 0 w 1323975"/>
                  <a:gd name="connsiteY57" fmla="*/ 913606 h 944563"/>
                  <a:gd name="connsiteX58" fmla="*/ 0 w 1323975"/>
                  <a:gd name="connsiteY58" fmla="*/ 31678 h 944563"/>
                  <a:gd name="connsiteX59" fmla="*/ 31661 w 1323975"/>
                  <a:gd name="connsiteY59" fmla="*/ 0 h 94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23975" h="944563">
                    <a:moveTo>
                      <a:pt x="1187662" y="113712"/>
                    </a:moveTo>
                    <a:cubicBezTo>
                      <a:pt x="1199897" y="107950"/>
                      <a:pt x="1212851" y="119474"/>
                      <a:pt x="1209253" y="132438"/>
                    </a:cubicBezTo>
                    <a:cubicBezTo>
                      <a:pt x="1209253" y="132438"/>
                      <a:pt x="1209253" y="132438"/>
                      <a:pt x="1145921" y="362190"/>
                    </a:cubicBezTo>
                    <a:cubicBezTo>
                      <a:pt x="1143762" y="370113"/>
                      <a:pt x="1135126" y="372273"/>
                      <a:pt x="1129368" y="367232"/>
                    </a:cubicBezTo>
                    <a:cubicBezTo>
                      <a:pt x="1129368" y="367232"/>
                      <a:pt x="1129368" y="367232"/>
                      <a:pt x="1081150" y="326179"/>
                    </a:cubicBezTo>
                    <a:cubicBezTo>
                      <a:pt x="1076832" y="322578"/>
                      <a:pt x="1070355" y="323298"/>
                      <a:pt x="1066756" y="327619"/>
                    </a:cubicBezTo>
                    <a:cubicBezTo>
                      <a:pt x="1066756" y="327619"/>
                      <a:pt x="1066756" y="327619"/>
                      <a:pt x="1038689" y="359309"/>
                    </a:cubicBezTo>
                    <a:cubicBezTo>
                      <a:pt x="1038689" y="359309"/>
                      <a:pt x="1038689" y="359309"/>
                      <a:pt x="898351" y="528563"/>
                    </a:cubicBezTo>
                    <a:cubicBezTo>
                      <a:pt x="894753" y="532884"/>
                      <a:pt x="888995" y="533604"/>
                      <a:pt x="884677" y="530723"/>
                    </a:cubicBezTo>
                    <a:cubicBezTo>
                      <a:pt x="884677" y="530723"/>
                      <a:pt x="884677" y="530723"/>
                      <a:pt x="871723" y="521360"/>
                    </a:cubicBezTo>
                    <a:cubicBezTo>
                      <a:pt x="871723" y="521360"/>
                      <a:pt x="871723" y="521360"/>
                      <a:pt x="846534" y="505515"/>
                    </a:cubicBezTo>
                    <a:cubicBezTo>
                      <a:pt x="846534" y="505515"/>
                      <a:pt x="846534" y="505515"/>
                      <a:pt x="845814" y="505515"/>
                    </a:cubicBezTo>
                    <a:cubicBezTo>
                      <a:pt x="845814" y="505515"/>
                      <a:pt x="845814" y="505515"/>
                      <a:pt x="712673" y="411166"/>
                    </a:cubicBezTo>
                    <a:cubicBezTo>
                      <a:pt x="708355" y="407565"/>
                      <a:pt x="702598" y="408285"/>
                      <a:pt x="698999" y="412606"/>
                    </a:cubicBezTo>
                    <a:cubicBezTo>
                      <a:pt x="698999" y="412606"/>
                      <a:pt x="698999" y="412606"/>
                      <a:pt x="678129" y="435653"/>
                    </a:cubicBezTo>
                    <a:cubicBezTo>
                      <a:pt x="678129" y="435653"/>
                      <a:pt x="678129" y="435653"/>
                      <a:pt x="652940" y="464462"/>
                    </a:cubicBezTo>
                    <a:cubicBezTo>
                      <a:pt x="652940" y="464462"/>
                      <a:pt x="652940" y="464462"/>
                      <a:pt x="483095" y="650281"/>
                    </a:cubicBezTo>
                    <a:cubicBezTo>
                      <a:pt x="483095" y="650281"/>
                      <a:pt x="483095" y="650281"/>
                      <a:pt x="463664" y="671888"/>
                    </a:cubicBezTo>
                    <a:cubicBezTo>
                      <a:pt x="459346" y="676929"/>
                      <a:pt x="451429" y="678370"/>
                      <a:pt x="444952" y="675489"/>
                    </a:cubicBezTo>
                    <a:cubicBezTo>
                      <a:pt x="444952" y="675489"/>
                      <a:pt x="444952" y="675489"/>
                      <a:pt x="304615" y="606347"/>
                    </a:cubicBezTo>
                    <a:cubicBezTo>
                      <a:pt x="300297" y="604186"/>
                      <a:pt x="294539" y="605627"/>
                      <a:pt x="291660" y="609228"/>
                    </a:cubicBezTo>
                    <a:cubicBezTo>
                      <a:pt x="291660" y="609228"/>
                      <a:pt x="291660" y="609228"/>
                      <a:pt x="285903" y="617151"/>
                    </a:cubicBezTo>
                    <a:cubicBezTo>
                      <a:pt x="285903" y="617151"/>
                      <a:pt x="285903" y="617151"/>
                      <a:pt x="259275" y="648841"/>
                    </a:cubicBezTo>
                    <a:cubicBezTo>
                      <a:pt x="259275" y="648841"/>
                      <a:pt x="259275" y="648841"/>
                      <a:pt x="90870" y="846183"/>
                    </a:cubicBezTo>
                    <a:lnTo>
                      <a:pt x="71438" y="869950"/>
                    </a:lnTo>
                    <a:cubicBezTo>
                      <a:pt x="71438" y="869950"/>
                      <a:pt x="71438" y="869950"/>
                      <a:pt x="90870" y="843302"/>
                    </a:cubicBezTo>
                    <a:cubicBezTo>
                      <a:pt x="90870" y="843302"/>
                      <a:pt x="90870" y="843302"/>
                      <a:pt x="259275" y="609228"/>
                    </a:cubicBezTo>
                    <a:cubicBezTo>
                      <a:pt x="259275" y="609228"/>
                      <a:pt x="259275" y="609228"/>
                      <a:pt x="280865" y="578978"/>
                    </a:cubicBezTo>
                    <a:cubicBezTo>
                      <a:pt x="283744" y="575377"/>
                      <a:pt x="288782" y="573937"/>
                      <a:pt x="293100" y="575377"/>
                    </a:cubicBezTo>
                    <a:cubicBezTo>
                      <a:pt x="293100" y="575377"/>
                      <a:pt x="293100" y="575377"/>
                      <a:pt x="440634" y="631555"/>
                    </a:cubicBezTo>
                    <a:cubicBezTo>
                      <a:pt x="444952" y="633716"/>
                      <a:pt x="449990" y="632275"/>
                      <a:pt x="452869" y="627954"/>
                    </a:cubicBezTo>
                    <a:cubicBezTo>
                      <a:pt x="452869" y="627954"/>
                      <a:pt x="452869" y="627954"/>
                      <a:pt x="483095" y="589782"/>
                    </a:cubicBezTo>
                    <a:cubicBezTo>
                      <a:pt x="483095" y="589782"/>
                      <a:pt x="483095" y="589782"/>
                      <a:pt x="652940" y="380196"/>
                    </a:cubicBezTo>
                    <a:cubicBezTo>
                      <a:pt x="652940" y="380196"/>
                      <a:pt x="652940" y="380196"/>
                      <a:pt x="678129" y="348506"/>
                    </a:cubicBezTo>
                    <a:cubicBezTo>
                      <a:pt x="678129" y="348506"/>
                      <a:pt x="678129" y="348506"/>
                      <a:pt x="688204" y="334822"/>
                    </a:cubicBezTo>
                    <a:cubicBezTo>
                      <a:pt x="691803" y="330500"/>
                      <a:pt x="697560" y="329780"/>
                      <a:pt x="701878" y="332661"/>
                    </a:cubicBezTo>
                    <a:cubicBezTo>
                      <a:pt x="701878" y="332661"/>
                      <a:pt x="701878" y="332661"/>
                      <a:pt x="846534" y="422689"/>
                    </a:cubicBezTo>
                    <a:cubicBezTo>
                      <a:pt x="846534" y="422689"/>
                      <a:pt x="846534" y="422689"/>
                      <a:pt x="871723" y="438534"/>
                    </a:cubicBezTo>
                    <a:cubicBezTo>
                      <a:pt x="871723" y="438534"/>
                      <a:pt x="871723" y="438534"/>
                      <a:pt x="871723" y="439254"/>
                    </a:cubicBezTo>
                    <a:cubicBezTo>
                      <a:pt x="876041" y="441415"/>
                      <a:pt x="882518" y="440695"/>
                      <a:pt x="885397" y="436374"/>
                    </a:cubicBezTo>
                    <a:cubicBezTo>
                      <a:pt x="885397" y="436374"/>
                      <a:pt x="885397" y="436374"/>
                      <a:pt x="1011341" y="281525"/>
                    </a:cubicBezTo>
                    <a:cubicBezTo>
                      <a:pt x="1014939" y="277203"/>
                      <a:pt x="1014219" y="270721"/>
                      <a:pt x="1009182" y="267120"/>
                    </a:cubicBezTo>
                    <a:cubicBezTo>
                      <a:pt x="1009182" y="267120"/>
                      <a:pt x="1009182" y="267120"/>
                      <a:pt x="962402" y="230389"/>
                    </a:cubicBezTo>
                    <a:cubicBezTo>
                      <a:pt x="955925" y="225347"/>
                      <a:pt x="957365" y="215264"/>
                      <a:pt x="964562" y="212383"/>
                    </a:cubicBezTo>
                    <a:cubicBezTo>
                      <a:pt x="964562" y="212383"/>
                      <a:pt x="964562" y="212383"/>
                      <a:pt x="974637" y="208062"/>
                    </a:cubicBezTo>
                    <a:cubicBezTo>
                      <a:pt x="974637" y="208062"/>
                      <a:pt x="974637" y="208062"/>
                      <a:pt x="1187662" y="113712"/>
                    </a:cubicBezTo>
                    <a:close/>
                    <a:moveTo>
                      <a:pt x="31750" y="31750"/>
                    </a:moveTo>
                    <a:cubicBezTo>
                      <a:pt x="31750" y="912813"/>
                      <a:pt x="31750" y="912813"/>
                      <a:pt x="31750" y="912813"/>
                    </a:cubicBezTo>
                    <a:cubicBezTo>
                      <a:pt x="1292225" y="912813"/>
                      <a:pt x="1292225" y="912813"/>
                      <a:pt x="1292225" y="912813"/>
                    </a:cubicBezTo>
                    <a:cubicBezTo>
                      <a:pt x="1292225" y="31750"/>
                      <a:pt x="1292225" y="31750"/>
                      <a:pt x="1292225" y="31750"/>
                    </a:cubicBezTo>
                    <a:cubicBezTo>
                      <a:pt x="31750" y="31750"/>
                      <a:pt x="31750" y="31750"/>
                      <a:pt x="31750" y="31750"/>
                    </a:cubicBezTo>
                    <a:close/>
                    <a:moveTo>
                      <a:pt x="31661" y="0"/>
                    </a:moveTo>
                    <a:cubicBezTo>
                      <a:pt x="1292315" y="0"/>
                      <a:pt x="1292315" y="0"/>
                      <a:pt x="1292315" y="0"/>
                    </a:cubicBezTo>
                    <a:cubicBezTo>
                      <a:pt x="1309584" y="0"/>
                      <a:pt x="1323975" y="14399"/>
                      <a:pt x="1323975" y="31678"/>
                    </a:cubicBezTo>
                    <a:cubicBezTo>
                      <a:pt x="1323975" y="913606"/>
                      <a:pt x="1323975" y="913606"/>
                      <a:pt x="1323975" y="913606"/>
                    </a:cubicBezTo>
                    <a:cubicBezTo>
                      <a:pt x="1323975" y="930884"/>
                      <a:pt x="1309584" y="944563"/>
                      <a:pt x="1292315" y="944563"/>
                    </a:cubicBezTo>
                    <a:cubicBezTo>
                      <a:pt x="31661" y="944563"/>
                      <a:pt x="31661" y="944563"/>
                      <a:pt x="31661" y="944563"/>
                    </a:cubicBezTo>
                    <a:cubicBezTo>
                      <a:pt x="14391" y="944563"/>
                      <a:pt x="0" y="930884"/>
                      <a:pt x="0" y="913606"/>
                    </a:cubicBezTo>
                    <a:cubicBezTo>
                      <a:pt x="0" y="31678"/>
                      <a:pt x="0" y="31678"/>
                      <a:pt x="0" y="31678"/>
                    </a:cubicBezTo>
                    <a:cubicBezTo>
                      <a:pt x="0" y="14399"/>
                      <a:pt x="14391" y="0"/>
                      <a:pt x="3166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3" name="Freeform 58"/>
              <p:cNvSpPr>
                <a:spLocks/>
              </p:cNvSpPr>
              <p:nvPr/>
            </p:nvSpPr>
            <p:spPr bwMode="auto">
              <a:xfrm>
                <a:off x="5534025" y="3078163"/>
                <a:ext cx="1160463" cy="766763"/>
              </a:xfrm>
              <a:custGeom>
                <a:avLst/>
                <a:gdLst>
                  <a:gd name="T0" fmla="*/ 1481 w 1613"/>
                  <a:gd name="T1" fmla="*/ 415 h 1066"/>
                  <a:gd name="T2" fmla="*/ 1445 w 1613"/>
                  <a:gd name="T3" fmla="*/ 425 h 1066"/>
                  <a:gd name="T4" fmla="*/ 1418 w 1613"/>
                  <a:gd name="T5" fmla="*/ 402 h 1066"/>
                  <a:gd name="T6" fmla="*/ 1374 w 1613"/>
                  <a:gd name="T7" fmla="*/ 363 h 1066"/>
                  <a:gd name="T8" fmla="*/ 1342 w 1613"/>
                  <a:gd name="T9" fmla="*/ 366 h 1066"/>
                  <a:gd name="T10" fmla="*/ 1136 w 1613"/>
                  <a:gd name="T11" fmla="*/ 616 h 1066"/>
                  <a:gd name="T12" fmla="*/ 1122 w 1613"/>
                  <a:gd name="T13" fmla="*/ 633 h 1066"/>
                  <a:gd name="T14" fmla="*/ 1092 w 1613"/>
                  <a:gd name="T15" fmla="*/ 637 h 1066"/>
                  <a:gd name="T16" fmla="*/ 1074 w 1613"/>
                  <a:gd name="T17" fmla="*/ 625 h 1066"/>
                  <a:gd name="T18" fmla="*/ 862 w 1613"/>
                  <a:gd name="T19" fmla="*/ 477 h 1066"/>
                  <a:gd name="T20" fmla="*/ 833 w 1613"/>
                  <a:gd name="T21" fmla="*/ 480 h 1066"/>
                  <a:gd name="T22" fmla="*/ 526 w 1613"/>
                  <a:gd name="T23" fmla="*/ 817 h 1066"/>
                  <a:gd name="T24" fmla="*/ 515 w 1613"/>
                  <a:gd name="T25" fmla="*/ 830 h 1066"/>
                  <a:gd name="T26" fmla="*/ 488 w 1613"/>
                  <a:gd name="T27" fmla="*/ 835 h 1066"/>
                  <a:gd name="T28" fmla="*/ 473 w 1613"/>
                  <a:gd name="T29" fmla="*/ 828 h 1066"/>
                  <a:gd name="T30" fmla="*/ 298 w 1613"/>
                  <a:gd name="T31" fmla="*/ 742 h 1066"/>
                  <a:gd name="T32" fmla="*/ 272 w 1613"/>
                  <a:gd name="T33" fmla="*/ 748 h 1066"/>
                  <a:gd name="T34" fmla="*/ 0 w 1613"/>
                  <a:gd name="T35" fmla="*/ 1066 h 1066"/>
                  <a:gd name="T36" fmla="*/ 1613 w 1613"/>
                  <a:gd name="T37" fmla="*/ 1066 h 1066"/>
                  <a:gd name="T38" fmla="*/ 1613 w 1613"/>
                  <a:gd name="T39" fmla="*/ 16 h 1066"/>
                  <a:gd name="T40" fmla="*/ 1593 w 1613"/>
                  <a:gd name="T41" fmla="*/ 7 h 1066"/>
                  <a:gd name="T42" fmla="*/ 1593 w 1613"/>
                  <a:gd name="T43" fmla="*/ 7 h 1066"/>
                  <a:gd name="T44" fmla="*/ 1491 w 1613"/>
                  <a:gd name="T45" fmla="*/ 380 h 1066"/>
                  <a:gd name="T46" fmla="*/ 1481 w 1613"/>
                  <a:gd name="T47" fmla="*/ 415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3" h="1066">
                    <a:moveTo>
                      <a:pt x="1481" y="415"/>
                    </a:moveTo>
                    <a:cubicBezTo>
                      <a:pt x="1477" y="430"/>
                      <a:pt x="1458" y="436"/>
                      <a:pt x="1445" y="425"/>
                    </a:cubicBezTo>
                    <a:cubicBezTo>
                      <a:pt x="1418" y="402"/>
                      <a:pt x="1418" y="402"/>
                      <a:pt x="1418" y="402"/>
                    </a:cubicBezTo>
                    <a:cubicBezTo>
                      <a:pt x="1374" y="363"/>
                      <a:pt x="1374" y="363"/>
                      <a:pt x="1374" y="363"/>
                    </a:cubicBezTo>
                    <a:cubicBezTo>
                      <a:pt x="1364" y="355"/>
                      <a:pt x="1350" y="357"/>
                      <a:pt x="1342" y="366"/>
                    </a:cubicBezTo>
                    <a:cubicBezTo>
                      <a:pt x="1136" y="616"/>
                      <a:pt x="1136" y="616"/>
                      <a:pt x="1136" y="616"/>
                    </a:cubicBezTo>
                    <a:cubicBezTo>
                      <a:pt x="1122" y="633"/>
                      <a:pt x="1122" y="633"/>
                      <a:pt x="1122" y="633"/>
                    </a:cubicBezTo>
                    <a:cubicBezTo>
                      <a:pt x="1115" y="642"/>
                      <a:pt x="1102" y="644"/>
                      <a:pt x="1092" y="637"/>
                    </a:cubicBezTo>
                    <a:cubicBezTo>
                      <a:pt x="1074" y="625"/>
                      <a:pt x="1074" y="625"/>
                      <a:pt x="1074" y="625"/>
                    </a:cubicBezTo>
                    <a:cubicBezTo>
                      <a:pt x="862" y="477"/>
                      <a:pt x="862" y="477"/>
                      <a:pt x="862" y="477"/>
                    </a:cubicBezTo>
                    <a:cubicBezTo>
                      <a:pt x="853" y="470"/>
                      <a:pt x="841" y="472"/>
                      <a:pt x="833" y="480"/>
                    </a:cubicBezTo>
                    <a:cubicBezTo>
                      <a:pt x="526" y="817"/>
                      <a:pt x="526" y="817"/>
                      <a:pt x="526" y="817"/>
                    </a:cubicBezTo>
                    <a:cubicBezTo>
                      <a:pt x="515" y="830"/>
                      <a:pt x="515" y="830"/>
                      <a:pt x="515" y="830"/>
                    </a:cubicBezTo>
                    <a:cubicBezTo>
                      <a:pt x="508" y="837"/>
                      <a:pt x="497" y="840"/>
                      <a:pt x="488" y="835"/>
                    </a:cubicBezTo>
                    <a:cubicBezTo>
                      <a:pt x="473" y="828"/>
                      <a:pt x="473" y="828"/>
                      <a:pt x="473" y="828"/>
                    </a:cubicBezTo>
                    <a:cubicBezTo>
                      <a:pt x="298" y="742"/>
                      <a:pt x="298" y="742"/>
                      <a:pt x="298" y="742"/>
                    </a:cubicBezTo>
                    <a:cubicBezTo>
                      <a:pt x="289" y="738"/>
                      <a:pt x="278" y="740"/>
                      <a:pt x="272" y="748"/>
                    </a:cubicBezTo>
                    <a:cubicBezTo>
                      <a:pt x="0" y="1066"/>
                      <a:pt x="0" y="1066"/>
                      <a:pt x="0" y="1066"/>
                    </a:cubicBezTo>
                    <a:cubicBezTo>
                      <a:pt x="1613" y="1066"/>
                      <a:pt x="1613" y="1066"/>
                      <a:pt x="1613" y="1066"/>
                    </a:cubicBezTo>
                    <a:cubicBezTo>
                      <a:pt x="1613" y="16"/>
                      <a:pt x="1613" y="16"/>
                      <a:pt x="1613" y="16"/>
                    </a:cubicBezTo>
                    <a:cubicBezTo>
                      <a:pt x="1613" y="5"/>
                      <a:pt x="1601" y="0"/>
                      <a:pt x="1593" y="7"/>
                    </a:cubicBezTo>
                    <a:cubicBezTo>
                      <a:pt x="1593" y="7"/>
                      <a:pt x="1593" y="7"/>
                      <a:pt x="1593" y="7"/>
                    </a:cubicBezTo>
                    <a:cubicBezTo>
                      <a:pt x="1491" y="380"/>
                      <a:pt x="1491" y="380"/>
                      <a:pt x="1491" y="380"/>
                    </a:cubicBezTo>
                    <a:lnTo>
                      <a:pt x="1481" y="4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78" name="TextBox 77"/>
          <p:cNvSpPr txBox="1"/>
          <p:nvPr/>
        </p:nvSpPr>
        <p:spPr>
          <a:xfrm>
            <a:off x="422294" y="3890942"/>
            <a:ext cx="1461154" cy="2855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Introduction</a:t>
            </a:r>
          </a:p>
        </p:txBody>
      </p:sp>
      <p:cxnSp>
        <p:nvCxnSpPr>
          <p:cNvPr id="76" name="Straight Connector 75"/>
          <p:cNvCxnSpPr/>
          <p:nvPr/>
        </p:nvCxnSpPr>
        <p:spPr>
          <a:xfrm>
            <a:off x="2032262" y="3717134"/>
            <a:ext cx="4564276" cy="0"/>
          </a:xfrm>
          <a:prstGeom prst="line">
            <a:avLst/>
          </a:prstGeom>
          <a:ln w="25400" cap="rnd" cmpd="sng" algn="ctr">
            <a:solidFill>
              <a:srgbClr val="30C1D7"/>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67922" y="3717134"/>
            <a:ext cx="4584829" cy="0"/>
          </a:xfrm>
          <a:prstGeom prst="line">
            <a:avLst/>
          </a:prstGeom>
          <a:ln w="25400" cap="rnd" cmpd="sng" algn="ctr">
            <a:solidFill>
              <a:srgbClr val="E71C57"/>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46860" y="4805612"/>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Data Science overview and key topics</a:t>
            </a:r>
          </a:p>
        </p:txBody>
      </p:sp>
      <p:sp>
        <p:nvSpPr>
          <p:cNvPr id="80" name="TextBox 79"/>
          <p:cNvSpPr txBox="1"/>
          <p:nvPr/>
        </p:nvSpPr>
        <p:spPr>
          <a:xfrm>
            <a:off x="3291715" y="3909810"/>
            <a:ext cx="2045369" cy="247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Data Preparation</a:t>
            </a:r>
          </a:p>
        </p:txBody>
      </p:sp>
      <p:sp>
        <p:nvSpPr>
          <p:cNvPr id="81" name="TextBox 80"/>
          <p:cNvSpPr txBox="1"/>
          <p:nvPr/>
        </p:nvSpPr>
        <p:spPr>
          <a:xfrm>
            <a:off x="7402787" y="3909810"/>
            <a:ext cx="3315099" cy="247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575757"/>
                </a:solidFill>
              </a:rPr>
              <a:t>Modeling and Production</a:t>
            </a:r>
          </a:p>
        </p:txBody>
      </p:sp>
      <p:cxnSp>
        <p:nvCxnSpPr>
          <p:cNvPr id="83" name="Straight Connector 82"/>
          <p:cNvCxnSpPr/>
          <p:nvPr/>
        </p:nvCxnSpPr>
        <p:spPr>
          <a:xfrm>
            <a:off x="445861" y="4350301"/>
            <a:ext cx="1414021" cy="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032263" y="4350301"/>
            <a:ext cx="4564276" cy="0"/>
          </a:xfrm>
          <a:prstGeom prst="line">
            <a:avLst/>
          </a:prstGeom>
          <a:ln w="19050" cap="rnd" cmpd="sng" algn="ctr">
            <a:solidFill>
              <a:srgbClr val="30C1D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778199" y="4350301"/>
            <a:ext cx="4564276" cy="0"/>
          </a:xfrm>
          <a:prstGeom prst="line">
            <a:avLst/>
          </a:prstGeom>
          <a:ln w="19050" cap="rnd" cmpd="sng" algn="ctr">
            <a:solidFill>
              <a:srgbClr val="E71C5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37967" y="4518052"/>
            <a:ext cx="0" cy="78696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rot="16200000">
            <a:off x="-217879" y="4765420"/>
            <a:ext cx="1019461" cy="292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verview</a:t>
            </a:r>
            <a:endParaRPr lang="en-US" sz="1200" dirty="0" smtClean="0">
              <a:solidFill>
                <a:srgbClr val="575757"/>
              </a:solidFill>
            </a:endParaRPr>
          </a:p>
        </p:txBody>
      </p:sp>
      <p:cxnSp>
        <p:nvCxnSpPr>
          <p:cNvPr id="79" name="Straight Connector 78"/>
          <p:cNvCxnSpPr/>
          <p:nvPr/>
        </p:nvCxnSpPr>
        <p:spPr>
          <a:xfrm>
            <a:off x="437967" y="5421266"/>
            <a:ext cx="0" cy="78696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rot="16200000">
            <a:off x="-235464" y="5668634"/>
            <a:ext cx="1019461" cy="292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Deep dive</a:t>
            </a:r>
            <a:endParaRPr lang="en-US" sz="1200" dirty="0" smtClean="0">
              <a:solidFill>
                <a:srgbClr val="575757"/>
              </a:solidFill>
            </a:endParaRPr>
          </a:p>
        </p:txBody>
      </p:sp>
      <p:sp>
        <p:nvSpPr>
          <p:cNvPr id="89" name="TextBox 88"/>
          <p:cNvSpPr txBox="1"/>
          <p:nvPr/>
        </p:nvSpPr>
        <p:spPr>
          <a:xfrm>
            <a:off x="1957342" y="5708824"/>
            <a:ext cx="1563864" cy="2342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enu exploration rules/propensity</a:t>
            </a:r>
            <a:endParaRPr lang="en-US" sz="1400" baseline="30000" dirty="0" smtClean="0">
              <a:solidFill>
                <a:srgbClr val="575757"/>
              </a:solidFill>
            </a:endParaRPr>
          </a:p>
        </p:txBody>
      </p:sp>
      <p:sp>
        <p:nvSpPr>
          <p:cNvPr id="90" name="TextBox 89"/>
          <p:cNvSpPr txBox="1"/>
          <p:nvPr/>
        </p:nvSpPr>
        <p:spPr>
          <a:xfrm>
            <a:off x="5183545"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ovie affinity model</a:t>
            </a:r>
            <a:endParaRPr lang="en-US" sz="1400" dirty="0" smtClean="0">
              <a:solidFill>
                <a:srgbClr val="575757"/>
              </a:solidFill>
            </a:endParaRPr>
          </a:p>
        </p:txBody>
      </p:sp>
      <p:sp>
        <p:nvSpPr>
          <p:cNvPr id="91" name="TextBox 90"/>
          <p:cNvSpPr txBox="1"/>
          <p:nvPr/>
        </p:nvSpPr>
        <p:spPr>
          <a:xfrm>
            <a:off x="6768949"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Menu exploration CF</a:t>
            </a:r>
            <a:r>
              <a:rPr lang="en-US" sz="1400" baseline="30000" dirty="0" smtClean="0">
                <a:solidFill>
                  <a:srgbClr val="575757"/>
                </a:solidFill>
              </a:rPr>
              <a:t>2</a:t>
            </a:r>
            <a:r>
              <a:rPr lang="en-US" sz="1400" dirty="0" smtClean="0">
                <a:solidFill>
                  <a:srgbClr val="575757"/>
                </a:solidFill>
              </a:rPr>
              <a:t> model</a:t>
            </a:r>
            <a:endParaRPr lang="en-US" sz="1400" dirty="0" smtClean="0">
              <a:solidFill>
                <a:srgbClr val="575757"/>
              </a:solidFill>
            </a:endParaRPr>
          </a:p>
        </p:txBody>
      </p:sp>
      <p:sp>
        <p:nvSpPr>
          <p:cNvPr id="92" name="TextBox 91"/>
          <p:cNvSpPr txBox="1"/>
          <p:nvPr/>
        </p:nvSpPr>
        <p:spPr>
          <a:xfrm>
            <a:off x="8354353"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TBD</a:t>
            </a:r>
          </a:p>
          <a:p>
            <a:pPr algn="ctr"/>
            <a:r>
              <a:rPr lang="en-US" sz="1400" dirty="0" smtClean="0">
                <a:solidFill>
                  <a:srgbClr val="575757"/>
                </a:solidFill>
              </a:rPr>
              <a:t>Advanced Topic</a:t>
            </a:r>
            <a:endParaRPr lang="en-US" sz="1400" dirty="0" smtClean="0">
              <a:solidFill>
                <a:srgbClr val="575757"/>
              </a:solidFill>
            </a:endParaRPr>
          </a:p>
        </p:txBody>
      </p:sp>
      <p:sp>
        <p:nvSpPr>
          <p:cNvPr id="93" name="TextBox 92"/>
          <p:cNvSpPr txBox="1"/>
          <p:nvPr/>
        </p:nvSpPr>
        <p:spPr>
          <a:xfrm>
            <a:off x="9939757"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TBD</a:t>
            </a:r>
          </a:p>
          <a:p>
            <a:pPr algn="ctr"/>
            <a:r>
              <a:rPr lang="en-US" sz="1400" dirty="0" smtClean="0">
                <a:solidFill>
                  <a:srgbClr val="575757"/>
                </a:solidFill>
              </a:rPr>
              <a:t>Advanced Topic</a:t>
            </a:r>
            <a:endParaRPr lang="en-US" sz="1400" dirty="0" smtClean="0">
              <a:solidFill>
                <a:srgbClr val="575757"/>
              </a:solidFill>
            </a:endParaRPr>
          </a:p>
        </p:txBody>
      </p:sp>
      <p:sp>
        <p:nvSpPr>
          <p:cNvPr id="94" name="TextBox 93"/>
          <p:cNvSpPr txBox="1"/>
          <p:nvPr/>
        </p:nvSpPr>
        <p:spPr>
          <a:xfrm>
            <a:off x="3608417"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Sandbox creation and processing</a:t>
            </a:r>
            <a:endParaRPr lang="en-US" sz="1400" dirty="0" smtClean="0">
              <a:solidFill>
                <a:srgbClr val="575757"/>
              </a:solidFill>
            </a:endParaRPr>
          </a:p>
        </p:txBody>
      </p:sp>
      <p:sp>
        <p:nvSpPr>
          <p:cNvPr id="95" name="TextBox 94"/>
          <p:cNvSpPr txBox="1"/>
          <p:nvPr/>
        </p:nvSpPr>
        <p:spPr>
          <a:xfrm>
            <a:off x="447887" y="5708825"/>
            <a:ext cx="1414021" cy="211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Frequency challenge clustering</a:t>
            </a:r>
            <a:endParaRPr lang="en-US" sz="1400" dirty="0" smtClean="0">
              <a:solidFill>
                <a:srgbClr val="575757"/>
              </a:solidFill>
            </a:endParaRPr>
          </a:p>
        </p:txBody>
      </p:sp>
    </p:spTree>
    <p:custDataLst>
      <p:tags r:id="rId1"/>
    </p:custDataLst>
    <p:extLst>
      <p:ext uri="{BB962C8B-B14F-4D97-AF65-F5344CB8AC3E}">
        <p14:creationId xmlns:p14="http://schemas.microsoft.com/office/powerpoint/2010/main" val="3965775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Journey to today </a:t>
            </a:r>
            <a:endParaRPr lang="en-US" dirty="0"/>
          </a:p>
        </p:txBody>
      </p:sp>
    </p:spTree>
    <p:custDataLst>
      <p:tags r:id="rId1"/>
    </p:custDataLst>
    <p:extLst>
      <p:ext uri="{BB962C8B-B14F-4D97-AF65-F5344CB8AC3E}">
        <p14:creationId xmlns:p14="http://schemas.microsoft.com/office/powerpoint/2010/main" val="1896603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470898"/>
          </a:xfrm>
        </p:spPr>
        <p:txBody>
          <a:bodyPr/>
          <a:lstStyle/>
          <a:p>
            <a:r>
              <a:rPr lang="en-US" dirty="0" smtClean="0"/>
              <a:t>We identified a MVP plan with three key objectives</a:t>
            </a:r>
            <a:endParaRPr lang="en-US" dirty="0"/>
          </a:p>
        </p:txBody>
      </p:sp>
      <p:grpSp>
        <p:nvGrpSpPr>
          <p:cNvPr id="67" name="Group 66"/>
          <p:cNvGrpSpPr/>
          <p:nvPr/>
        </p:nvGrpSpPr>
        <p:grpSpPr>
          <a:xfrm>
            <a:off x="3897647" y="1875001"/>
            <a:ext cx="7665553" cy="4286087"/>
            <a:chOff x="3897797" y="1875001"/>
            <a:chExt cx="7665553" cy="4286087"/>
          </a:xfrm>
        </p:grpSpPr>
        <p:sp>
          <p:nvSpPr>
            <p:cNvPr id="3" name="ee4pHeader2"/>
            <p:cNvSpPr txBox="1"/>
            <p:nvPr/>
          </p:nvSpPr>
          <p:spPr>
            <a:xfrm>
              <a:off x="3897797" y="1875001"/>
              <a:ext cx="1514926" cy="658368"/>
            </a:xfrm>
            <a:prstGeom prst="rect">
              <a:avLst/>
            </a:prstGeom>
            <a:noFill/>
            <a:ln cap="rnd">
              <a:noFill/>
            </a:ln>
          </p:spPr>
          <p:txBody>
            <a:bodyPr vert="horz" wrap="square" lIns="0" tIns="0" rIns="0" bIns="0" rtlCol="0" anchor="b" anchorCtr="0">
              <a:noAutofit/>
            </a:bodyPr>
            <a:lstStyle/>
            <a:p>
              <a:pPr marL="0" lvl="3"/>
              <a:r>
                <a:rPr lang="en-AU" sz="2400" b="1" dirty="0">
                  <a:solidFill>
                    <a:srgbClr val="29BA74"/>
                  </a:solidFill>
                  <a:latin typeface="+mj-lt"/>
                  <a:sym typeface="Proxima Nova Rg" panose="02000506030000020004" pitchFamily="2" charset="0"/>
                </a:rPr>
                <a:t>Objectives</a:t>
              </a:r>
            </a:p>
          </p:txBody>
        </p:sp>
        <p:sp>
          <p:nvSpPr>
            <p:cNvPr id="4" name="Pie 3"/>
            <p:cNvSpPr/>
            <p:nvPr/>
          </p:nvSpPr>
          <p:spPr>
            <a:xfrm rot="10800000">
              <a:off x="6541508" y="2708101"/>
              <a:ext cx="1967089" cy="1967089"/>
            </a:xfrm>
            <a:prstGeom prst="pie">
              <a:avLst>
                <a:gd name="adj1" fmla="val 5388542"/>
                <a:gd name="adj2" fmla="val 16200000"/>
              </a:avLst>
            </a:prstGeom>
            <a:solidFill>
              <a:srgbClr val="3EAD92"/>
            </a:solidFill>
            <a:ln w="3238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lnSpc>
                  <a:spcPct val="90000"/>
                </a:lnSpc>
                <a:spcAft>
                  <a:spcPts val="1000"/>
                </a:spcAft>
              </a:pPr>
              <a:endParaRPr lang="en-AU" sz="1200" dirty="0" err="1">
                <a:solidFill>
                  <a:schemeClr val="bg1"/>
                </a:solidFill>
              </a:endParaRPr>
            </a:p>
          </p:txBody>
        </p:sp>
        <p:sp>
          <p:nvSpPr>
            <p:cNvPr id="5" name="Oval 4"/>
            <p:cNvSpPr/>
            <p:nvPr/>
          </p:nvSpPr>
          <p:spPr>
            <a:xfrm>
              <a:off x="7441195" y="4193999"/>
              <a:ext cx="1967089" cy="1967089"/>
            </a:xfrm>
            <a:prstGeom prst="ellipse">
              <a:avLst/>
            </a:prstGeom>
            <a:solidFill>
              <a:srgbClr val="E71C57"/>
            </a:solidFill>
            <a:ln w="3238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lnSpc>
                  <a:spcPct val="90000"/>
                </a:lnSpc>
                <a:spcAft>
                  <a:spcPts val="1000"/>
                </a:spcAft>
              </a:pPr>
              <a:endParaRPr lang="en-AU" sz="1200" dirty="0" err="1">
                <a:solidFill>
                  <a:schemeClr val="bg1"/>
                </a:solidFill>
              </a:endParaRPr>
            </a:p>
          </p:txBody>
        </p:sp>
        <p:sp>
          <p:nvSpPr>
            <p:cNvPr id="6" name="Oval 5"/>
            <p:cNvSpPr/>
            <p:nvPr/>
          </p:nvSpPr>
          <p:spPr>
            <a:xfrm>
              <a:off x="5675613" y="4193999"/>
              <a:ext cx="1967089" cy="1967089"/>
            </a:xfrm>
            <a:prstGeom prst="ellipse">
              <a:avLst/>
            </a:prstGeom>
            <a:solidFill>
              <a:srgbClr val="295E7E"/>
            </a:solidFill>
            <a:ln w="3238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lnSpc>
                  <a:spcPct val="90000"/>
                </a:lnSpc>
                <a:spcAft>
                  <a:spcPts val="1000"/>
                </a:spcAft>
              </a:pPr>
              <a:endParaRPr lang="en-AU" sz="1200" dirty="0" err="1">
                <a:solidFill>
                  <a:schemeClr val="bg1"/>
                </a:solidFill>
              </a:endParaRPr>
            </a:p>
          </p:txBody>
        </p:sp>
        <p:sp>
          <p:nvSpPr>
            <p:cNvPr id="7" name="Pie 6"/>
            <p:cNvSpPr/>
            <p:nvPr/>
          </p:nvSpPr>
          <p:spPr>
            <a:xfrm>
              <a:off x="6541508" y="2708101"/>
              <a:ext cx="1967089" cy="1967089"/>
            </a:xfrm>
            <a:prstGeom prst="pie">
              <a:avLst>
                <a:gd name="adj1" fmla="val 5388542"/>
                <a:gd name="adj2" fmla="val 16200000"/>
              </a:avLst>
            </a:prstGeom>
            <a:solidFill>
              <a:srgbClr val="3EAD92"/>
            </a:solidFill>
            <a:ln w="3238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lnSpc>
                  <a:spcPct val="90000"/>
                </a:lnSpc>
                <a:spcAft>
                  <a:spcPts val="1000"/>
                </a:spcAft>
              </a:pPr>
              <a:endParaRPr lang="en-AU" sz="1200" dirty="0" err="1">
                <a:solidFill>
                  <a:schemeClr val="bg1"/>
                </a:solidFill>
              </a:endParaRPr>
            </a:p>
          </p:txBody>
        </p:sp>
        <p:sp>
          <p:nvSpPr>
            <p:cNvPr id="8" name="Rectangle 7"/>
            <p:cNvSpPr/>
            <p:nvPr/>
          </p:nvSpPr>
          <p:spPr>
            <a:xfrm>
              <a:off x="7484717" y="2727638"/>
              <a:ext cx="92015" cy="1933649"/>
            </a:xfrm>
            <a:prstGeom prst="rect">
              <a:avLst/>
            </a:prstGeom>
            <a:solidFill>
              <a:srgbClr val="3EAD92"/>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lnSpc>
                  <a:spcPct val="90000"/>
                </a:lnSpc>
                <a:spcAft>
                  <a:spcPts val="1000"/>
                </a:spcAft>
              </a:pPr>
              <a:endParaRPr lang="en-AU" sz="1200" dirty="0" err="1">
                <a:solidFill>
                  <a:schemeClr val="bg1"/>
                </a:solidFill>
              </a:endParaRPr>
            </a:p>
          </p:txBody>
        </p:sp>
        <p:grpSp>
          <p:nvGrpSpPr>
            <p:cNvPr id="9" name="Group 8"/>
            <p:cNvGrpSpPr/>
            <p:nvPr/>
          </p:nvGrpSpPr>
          <p:grpSpPr>
            <a:xfrm>
              <a:off x="6944846" y="3110900"/>
              <a:ext cx="1160414" cy="1161492"/>
              <a:chOff x="8418477" y="3750130"/>
              <a:chExt cx="1644396" cy="1645920"/>
            </a:xfrm>
          </p:grpSpPr>
          <p:sp>
            <p:nvSpPr>
              <p:cNvPr id="10" name="AutoShape 137"/>
              <p:cNvSpPr>
                <a:spLocks noChangeAspect="1" noChangeArrowheads="1" noTextEdit="1"/>
              </p:cNvSpPr>
              <p:nvPr/>
            </p:nvSpPr>
            <p:spPr bwMode="auto">
              <a:xfrm>
                <a:off x="8418477" y="375013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grpSp>
            <p:nvGrpSpPr>
              <p:cNvPr id="11" name="Group 10"/>
              <p:cNvGrpSpPr/>
              <p:nvPr/>
            </p:nvGrpSpPr>
            <p:grpSpPr>
              <a:xfrm>
                <a:off x="8686701" y="3902149"/>
                <a:ext cx="1106424" cy="1305306"/>
                <a:chOff x="9378851" y="4143449"/>
                <a:chExt cx="1106424" cy="1305306"/>
              </a:xfrm>
            </p:grpSpPr>
            <p:sp>
              <p:nvSpPr>
                <p:cNvPr id="12" name="Freeform 139"/>
                <p:cNvSpPr>
                  <a:spLocks/>
                </p:cNvSpPr>
                <p:nvPr/>
              </p:nvSpPr>
              <p:spPr bwMode="auto">
                <a:xfrm>
                  <a:off x="9807095" y="4143449"/>
                  <a:ext cx="249936" cy="25031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sp>
              <p:nvSpPr>
                <p:cNvPr id="13" name="Freeform 140"/>
                <p:cNvSpPr>
                  <a:spLocks/>
                </p:cNvSpPr>
                <p:nvPr/>
              </p:nvSpPr>
              <p:spPr bwMode="auto">
                <a:xfrm>
                  <a:off x="9521726" y="4268798"/>
                  <a:ext cx="196215" cy="187833"/>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sp>
              <p:nvSpPr>
                <p:cNvPr id="14" name="Freeform 141"/>
                <p:cNvSpPr>
                  <a:spLocks/>
                </p:cNvSpPr>
                <p:nvPr/>
              </p:nvSpPr>
              <p:spPr bwMode="auto">
                <a:xfrm>
                  <a:off x="9378851" y="4465013"/>
                  <a:ext cx="133731" cy="124968"/>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sp>
              <p:nvSpPr>
                <p:cNvPr id="15" name="Freeform 142"/>
                <p:cNvSpPr>
                  <a:spLocks/>
                </p:cNvSpPr>
                <p:nvPr/>
              </p:nvSpPr>
              <p:spPr bwMode="auto">
                <a:xfrm>
                  <a:off x="10351925" y="4465013"/>
                  <a:ext cx="133350" cy="124968"/>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sp>
              <p:nvSpPr>
                <p:cNvPr id="16" name="Freeform 143"/>
                <p:cNvSpPr>
                  <a:spLocks/>
                </p:cNvSpPr>
                <p:nvPr/>
              </p:nvSpPr>
              <p:spPr bwMode="auto">
                <a:xfrm>
                  <a:off x="10146185" y="4268798"/>
                  <a:ext cx="196215" cy="187833"/>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sp>
              <p:nvSpPr>
                <p:cNvPr id="17" name="Freeform 144"/>
                <p:cNvSpPr>
                  <a:spLocks/>
                </p:cNvSpPr>
                <p:nvPr/>
              </p:nvSpPr>
              <p:spPr bwMode="auto">
                <a:xfrm>
                  <a:off x="9655838" y="4465013"/>
                  <a:ext cx="553212" cy="422910"/>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sp>
              <p:nvSpPr>
                <p:cNvPr id="18" name="Freeform 145"/>
                <p:cNvSpPr>
                  <a:spLocks/>
                </p:cNvSpPr>
                <p:nvPr/>
              </p:nvSpPr>
              <p:spPr bwMode="auto">
                <a:xfrm>
                  <a:off x="9403997" y="5207201"/>
                  <a:ext cx="1056132" cy="241554"/>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sp>
              <p:nvSpPr>
                <p:cNvPr id="19" name="Freeform 146"/>
                <p:cNvSpPr>
                  <a:spLocks/>
                </p:cNvSpPr>
                <p:nvPr/>
              </p:nvSpPr>
              <p:spPr bwMode="auto">
                <a:xfrm>
                  <a:off x="9650123" y="4885256"/>
                  <a:ext cx="563880" cy="3333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AU" dirty="0"/>
                </a:p>
              </p:txBody>
            </p:sp>
          </p:grpSp>
        </p:grpSp>
        <p:grpSp>
          <p:nvGrpSpPr>
            <p:cNvPr id="20" name="bcgIcons_Teamwork">
              <a:extLst>
                <a:ext uri="{FF2B5EF4-FFF2-40B4-BE49-F238E27FC236}">
                  <a16:creationId xmlns:a16="http://schemas.microsoft.com/office/drawing/2014/main" xmlns="" id="{2D969D3F-967C-42E9-BA6A-28063D9F0F04}"/>
                </a:ext>
              </a:extLst>
            </p:cNvPr>
            <p:cNvGrpSpPr>
              <a:grpSpLocks noChangeAspect="1"/>
            </p:cNvGrpSpPr>
            <p:nvPr/>
          </p:nvGrpSpPr>
          <p:grpSpPr bwMode="auto">
            <a:xfrm>
              <a:off x="7844533" y="4596797"/>
              <a:ext cx="1160414" cy="1161492"/>
              <a:chOff x="1682" y="0"/>
              <a:chExt cx="4316" cy="4320"/>
            </a:xfrm>
          </p:grpSpPr>
          <p:sp>
            <p:nvSpPr>
              <p:cNvPr id="21" name="AutoShape 24">
                <a:extLst>
                  <a:ext uri="{FF2B5EF4-FFF2-40B4-BE49-F238E27FC236}">
                    <a16:creationId xmlns:a16="http://schemas.microsoft.com/office/drawing/2014/main" xmlns="" id="{A69478BB-EBFA-483F-8C8D-79992546813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6">
                <a:extLst>
                  <a:ext uri="{FF2B5EF4-FFF2-40B4-BE49-F238E27FC236}">
                    <a16:creationId xmlns:a16="http://schemas.microsoft.com/office/drawing/2014/main" xmlns="" id="{F467AB91-1AAD-43A1-942C-9E985E74232A}"/>
                  </a:ext>
                </a:extLst>
              </p:cNvPr>
              <p:cNvSpPr>
                <a:spLocks noEditPoints="1"/>
              </p:cNvSpPr>
              <p:nvPr/>
            </p:nvSpPr>
            <p:spPr bwMode="auto">
              <a:xfrm>
                <a:off x="2162" y="1489"/>
                <a:ext cx="3424" cy="789"/>
              </a:xfrm>
              <a:custGeom>
                <a:avLst/>
                <a:gdLst>
                  <a:gd name="T0" fmla="*/ 100 w 1828"/>
                  <a:gd name="T1" fmla="*/ 22 h 421"/>
                  <a:gd name="T2" fmla="*/ 515 w 1828"/>
                  <a:gd name="T3" fmla="*/ 239 h 421"/>
                  <a:gd name="T4" fmla="*/ 507 w 1828"/>
                  <a:gd name="T5" fmla="*/ 309 h 421"/>
                  <a:gd name="T6" fmla="*/ 31 w 1828"/>
                  <a:gd name="T7" fmla="*/ 100 h 421"/>
                  <a:gd name="T8" fmla="*/ 63 w 1828"/>
                  <a:gd name="T9" fmla="*/ 6 h 421"/>
                  <a:gd name="T10" fmla="*/ 271 w 1828"/>
                  <a:gd name="T11" fmla="*/ 124 h 421"/>
                  <a:gd name="T12" fmla="*/ 123 w 1828"/>
                  <a:gd name="T13" fmla="*/ 0 h 421"/>
                  <a:gd name="T14" fmla="*/ 159 w 1828"/>
                  <a:gd name="T15" fmla="*/ 239 h 421"/>
                  <a:gd name="T16" fmla="*/ 148 w 1828"/>
                  <a:gd name="T17" fmla="*/ 233 h 421"/>
                  <a:gd name="T18" fmla="*/ 73 w 1828"/>
                  <a:gd name="T19" fmla="*/ 421 h 421"/>
                  <a:gd name="T20" fmla="*/ 320 w 1828"/>
                  <a:gd name="T21" fmla="*/ 287 h 421"/>
                  <a:gd name="T22" fmla="*/ 1355 w 1828"/>
                  <a:gd name="T23" fmla="*/ 6 h 421"/>
                  <a:gd name="T24" fmla="*/ 1323 w 1828"/>
                  <a:gd name="T25" fmla="*/ 100 h 421"/>
                  <a:gd name="T26" fmla="*/ 1799 w 1828"/>
                  <a:gd name="T27" fmla="*/ 309 h 421"/>
                  <a:gd name="T28" fmla="*/ 1807 w 1828"/>
                  <a:gd name="T29" fmla="*/ 239 h 421"/>
                  <a:gd name="T30" fmla="*/ 1392 w 1828"/>
                  <a:gd name="T31" fmla="*/ 22 h 421"/>
                  <a:gd name="T32" fmla="*/ 1526 w 1828"/>
                  <a:gd name="T33" fmla="*/ 112 h 421"/>
                  <a:gd name="T34" fmla="*/ 1563 w 1828"/>
                  <a:gd name="T35" fmla="*/ 123 h 421"/>
                  <a:gd name="T36" fmla="*/ 1526 w 1828"/>
                  <a:gd name="T37" fmla="*/ 112 h 421"/>
                  <a:gd name="T38" fmla="*/ 1445 w 1828"/>
                  <a:gd name="T39" fmla="*/ 237 h 421"/>
                  <a:gd name="T40" fmla="*/ 1311 w 1828"/>
                  <a:gd name="T41" fmla="*/ 131 h 421"/>
                  <a:gd name="T42" fmla="*/ 1631 w 1828"/>
                  <a:gd name="T43" fmla="*/ 350 h 421"/>
                  <a:gd name="T44" fmla="*/ 1451 w 1828"/>
                  <a:gd name="T45" fmla="*/ 239 h 421"/>
                  <a:gd name="T46" fmla="*/ 686 w 1828"/>
                  <a:gd name="T47" fmla="*/ 12 h 421"/>
                  <a:gd name="T48" fmla="*/ 814 w 1828"/>
                  <a:gd name="T49" fmla="*/ 208 h 421"/>
                  <a:gd name="T50" fmla="*/ 1173 w 1828"/>
                  <a:gd name="T51" fmla="*/ 277 h 421"/>
                  <a:gd name="T52" fmla="*/ 863 w 1828"/>
                  <a:gd name="T53" fmla="*/ 140 h 421"/>
                  <a:gd name="T54" fmla="*/ 709 w 1828"/>
                  <a:gd name="T55" fmla="*/ 6 h 421"/>
                  <a:gd name="T56" fmla="*/ 917 w 1828"/>
                  <a:gd name="T57" fmla="*/ 124 h 421"/>
                  <a:gd name="T58" fmla="*/ 769 w 1828"/>
                  <a:gd name="T59" fmla="*/ 0 h 421"/>
                  <a:gd name="T60" fmla="*/ 805 w 1828"/>
                  <a:gd name="T61" fmla="*/ 239 h 421"/>
                  <a:gd name="T62" fmla="*/ 794 w 1828"/>
                  <a:gd name="T63" fmla="*/ 233 h 421"/>
                  <a:gd name="T64" fmla="*/ 719 w 1828"/>
                  <a:gd name="T65" fmla="*/ 421 h 421"/>
                  <a:gd name="T66" fmla="*/ 966 w 1828"/>
                  <a:gd name="T67" fmla="*/ 28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8" h="421">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7">
                <a:extLst>
                  <a:ext uri="{FF2B5EF4-FFF2-40B4-BE49-F238E27FC236}">
                    <a16:creationId xmlns:a16="http://schemas.microsoft.com/office/drawing/2014/main" xmlns="" id="{1D41D8E8-841D-4A04-8D5A-AFB1919A69B8}"/>
                  </a:ext>
                </a:extLst>
              </p:cNvPr>
              <p:cNvSpPr>
                <a:spLocks noEditPoints="1"/>
              </p:cNvSpPr>
              <p:nvPr/>
            </p:nvSpPr>
            <p:spPr bwMode="auto">
              <a:xfrm>
                <a:off x="1866" y="870"/>
                <a:ext cx="4023" cy="2629"/>
              </a:xfrm>
              <a:custGeom>
                <a:avLst/>
                <a:gdLst>
                  <a:gd name="T0" fmla="*/ 744 w 2148"/>
                  <a:gd name="T1" fmla="*/ 1402 h 1402"/>
                  <a:gd name="T2" fmla="*/ 305 w 2148"/>
                  <a:gd name="T3" fmla="*/ 899 h 1402"/>
                  <a:gd name="T4" fmla="*/ 291 w 2148"/>
                  <a:gd name="T5" fmla="*/ 786 h 1402"/>
                  <a:gd name="T6" fmla="*/ 322 w 2148"/>
                  <a:gd name="T7" fmla="*/ 859 h 1402"/>
                  <a:gd name="T8" fmla="*/ 754 w 2148"/>
                  <a:gd name="T9" fmla="*/ 1350 h 1402"/>
                  <a:gd name="T10" fmla="*/ 648 w 2148"/>
                  <a:gd name="T11" fmla="*/ 944 h 1402"/>
                  <a:gd name="T12" fmla="*/ 683 w 2148"/>
                  <a:gd name="T13" fmla="*/ 917 h 1402"/>
                  <a:gd name="T14" fmla="*/ 805 w 2148"/>
                  <a:gd name="T15" fmla="*/ 1356 h 1402"/>
                  <a:gd name="T16" fmla="*/ 372 w 2148"/>
                  <a:gd name="T17" fmla="*/ 117 h 1402"/>
                  <a:gd name="T18" fmla="*/ 343 w 2148"/>
                  <a:gd name="T19" fmla="*/ 243 h 1402"/>
                  <a:gd name="T20" fmla="*/ 279 w 2148"/>
                  <a:gd name="T21" fmla="*/ 274 h 1402"/>
                  <a:gd name="T22" fmla="*/ 342 w 2148"/>
                  <a:gd name="T23" fmla="*/ 248 h 1402"/>
                  <a:gd name="T24" fmla="*/ 269 w 2148"/>
                  <a:gd name="T25" fmla="*/ 4 h 1402"/>
                  <a:gd name="T26" fmla="*/ 185 w 2148"/>
                  <a:gd name="T27" fmla="*/ 242 h 1402"/>
                  <a:gd name="T28" fmla="*/ 195 w 2148"/>
                  <a:gd name="T29" fmla="*/ 112 h 1402"/>
                  <a:gd name="T30" fmla="*/ 254 w 2148"/>
                  <a:gd name="T31" fmla="*/ 150 h 1402"/>
                  <a:gd name="T32" fmla="*/ 375 w 2148"/>
                  <a:gd name="T33" fmla="*/ 73 h 1402"/>
                  <a:gd name="T34" fmla="*/ 1980 w 2148"/>
                  <a:gd name="T35" fmla="*/ 925 h 1402"/>
                  <a:gd name="T36" fmla="*/ 1745 w 2148"/>
                  <a:gd name="T37" fmla="*/ 745 h 1402"/>
                  <a:gd name="T38" fmla="*/ 2057 w 2148"/>
                  <a:gd name="T39" fmla="*/ 1336 h 1402"/>
                  <a:gd name="T40" fmla="*/ 1863 w 2148"/>
                  <a:gd name="T41" fmla="*/ 993 h 1402"/>
                  <a:gd name="T42" fmla="*/ 1585 w 2148"/>
                  <a:gd name="T43" fmla="*/ 798 h 1402"/>
                  <a:gd name="T44" fmla="*/ 1542 w 2148"/>
                  <a:gd name="T45" fmla="*/ 804 h 1402"/>
                  <a:gd name="T46" fmla="*/ 2017 w 2148"/>
                  <a:gd name="T47" fmla="*/ 1390 h 1402"/>
                  <a:gd name="T48" fmla="*/ 2097 w 2148"/>
                  <a:gd name="T49" fmla="*/ 1356 h 1402"/>
                  <a:gd name="T50" fmla="*/ 1664 w 2148"/>
                  <a:gd name="T51" fmla="*/ 258 h 1402"/>
                  <a:gd name="T52" fmla="*/ 1636 w 2148"/>
                  <a:gd name="T53" fmla="*/ 133 h 1402"/>
                  <a:gd name="T54" fmla="*/ 1557 w 2148"/>
                  <a:gd name="T55" fmla="*/ 256 h 1402"/>
                  <a:gd name="T56" fmla="*/ 1652 w 2148"/>
                  <a:gd name="T57" fmla="*/ 273 h 1402"/>
                  <a:gd name="T58" fmla="*/ 1688 w 2148"/>
                  <a:gd name="T59" fmla="*/ 33 h 1402"/>
                  <a:gd name="T60" fmla="*/ 1475 w 2148"/>
                  <a:gd name="T61" fmla="*/ 243 h 1402"/>
                  <a:gd name="T62" fmla="*/ 1481 w 2148"/>
                  <a:gd name="T63" fmla="*/ 187 h 1402"/>
                  <a:gd name="T64" fmla="*/ 1525 w 2148"/>
                  <a:gd name="T65" fmla="*/ 150 h 1402"/>
                  <a:gd name="T66" fmla="*/ 1666 w 2148"/>
                  <a:gd name="T67" fmla="*/ 74 h 1402"/>
                  <a:gd name="T68" fmla="*/ 1456 w 2148"/>
                  <a:gd name="T69" fmla="*/ 1286 h 1402"/>
                  <a:gd name="T70" fmla="*/ 1144 w 2148"/>
                  <a:gd name="T71" fmla="*/ 728 h 1402"/>
                  <a:gd name="T72" fmla="*/ 1414 w 2148"/>
                  <a:gd name="T73" fmla="*/ 1300 h 1402"/>
                  <a:gd name="T74" fmla="*/ 1226 w 2148"/>
                  <a:gd name="T75" fmla="*/ 1002 h 1402"/>
                  <a:gd name="T76" fmla="*/ 940 w 2148"/>
                  <a:gd name="T77" fmla="*/ 802 h 1402"/>
                  <a:gd name="T78" fmla="*/ 894 w 2148"/>
                  <a:gd name="T79" fmla="*/ 793 h 1402"/>
                  <a:gd name="T80" fmla="*/ 1190 w 2148"/>
                  <a:gd name="T81" fmla="*/ 1028 h 1402"/>
                  <a:gd name="T82" fmla="*/ 1397 w 2148"/>
                  <a:gd name="T83" fmla="*/ 1401 h 1402"/>
                  <a:gd name="T84" fmla="*/ 1006 w 2148"/>
                  <a:gd name="T85" fmla="*/ 273 h 1402"/>
                  <a:gd name="T86" fmla="*/ 996 w 2148"/>
                  <a:gd name="T87" fmla="*/ 111 h 1402"/>
                  <a:gd name="T88" fmla="*/ 929 w 2148"/>
                  <a:gd name="T89" fmla="*/ 242 h 1402"/>
                  <a:gd name="T90" fmla="*/ 969 w 2148"/>
                  <a:gd name="T91" fmla="*/ 276 h 1402"/>
                  <a:gd name="T92" fmla="*/ 988 w 2148"/>
                  <a:gd name="T93" fmla="*/ 248 h 1402"/>
                  <a:gd name="T94" fmla="*/ 787 w 2148"/>
                  <a:gd name="T95" fmla="*/ 74 h 1402"/>
                  <a:gd name="T96" fmla="*/ 835 w 2148"/>
                  <a:gd name="T97" fmla="*/ 187 h 1402"/>
                  <a:gd name="T98" fmla="*/ 878 w 2148"/>
                  <a:gd name="T99" fmla="*/ 149 h 1402"/>
                  <a:gd name="T100" fmla="*/ 933 w 2148"/>
                  <a:gd name="T101" fmla="*/ 87 h 1402"/>
                  <a:gd name="T102" fmla="*/ 1042 w 2148"/>
                  <a:gd name="T103" fmla="*/ 33 h 1402"/>
                  <a:gd name="T104" fmla="*/ 0 w 2148"/>
                  <a:gd name="T105" fmla="*/ 1061 h 1402"/>
                  <a:gd name="T106" fmla="*/ 44 w 2148"/>
                  <a:gd name="T107" fmla="*/ 768 h 1402"/>
                  <a:gd name="T108" fmla="*/ 713 w 2148"/>
                  <a:gd name="T109" fmla="*/ 623 h 1402"/>
                  <a:gd name="T110" fmla="*/ 719 w 2148"/>
                  <a:gd name="T111" fmla="*/ 579 h 1402"/>
                  <a:gd name="T112" fmla="*/ 1454 w 2148"/>
                  <a:gd name="T113" fmla="*/ 623 h 1402"/>
                  <a:gd name="T114" fmla="*/ 1359 w 2148"/>
                  <a:gd name="T115" fmla="*/ 623 h 1402"/>
                  <a:gd name="T116" fmla="*/ 2005 w 2148"/>
                  <a:gd name="T117" fmla="*/ 623 h 1402"/>
                  <a:gd name="T118" fmla="*/ 2126 w 2148"/>
                  <a:gd name="T119" fmla="*/ 579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8" h="1402">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ee4pHeader2"/>
            <p:cNvSpPr txBox="1"/>
            <p:nvPr/>
          </p:nvSpPr>
          <p:spPr>
            <a:xfrm>
              <a:off x="8721110" y="2670529"/>
              <a:ext cx="2736748" cy="344179"/>
            </a:xfrm>
            <a:prstGeom prst="rect">
              <a:avLst/>
            </a:prstGeom>
            <a:noFill/>
            <a:ln cap="rnd">
              <a:noFill/>
            </a:ln>
          </p:spPr>
          <p:txBody>
            <a:bodyPr vert="horz" wrap="square" lIns="0" tIns="0" rIns="0" bIns="0" rtlCol="0" anchor="b" anchorCtr="0">
              <a:noAutofit/>
            </a:bodyPr>
            <a:lstStyle/>
            <a:p>
              <a:pPr marL="0" lvl="3"/>
              <a:r>
                <a:rPr lang="en-AU" sz="1600" dirty="0">
                  <a:solidFill>
                    <a:srgbClr val="29BA74"/>
                  </a:solidFill>
                  <a:latin typeface="+mj-lt"/>
                  <a:sym typeface="Proxima Nova Rg" panose="02000506030000020004" pitchFamily="2" charset="0"/>
                </a:rPr>
                <a:t>For customers</a:t>
              </a:r>
              <a:r>
                <a:rPr lang="en-AU" sz="1600" dirty="0">
                  <a:solidFill>
                    <a:srgbClr val="414042"/>
                  </a:solidFill>
                  <a:latin typeface="+mj-lt"/>
                  <a:sym typeface="Proxima Nova Rg" panose="02000506030000020004" pitchFamily="2" charset="0"/>
                </a:rPr>
                <a:t>: </a:t>
              </a:r>
              <a:r>
                <a:rPr lang="en-AU" sz="1600" dirty="0" smtClean="0">
                  <a:solidFill>
                    <a:srgbClr val="575757"/>
                  </a:solidFill>
                  <a:latin typeface="+mj-lt"/>
                  <a:sym typeface="Proxima Nova Rg" panose="02000506030000020004" pitchFamily="2" charset="0"/>
                </a:rPr>
                <a:t>Improve </a:t>
              </a:r>
              <a:r>
                <a:rPr lang="en-AU" sz="1600" dirty="0">
                  <a:solidFill>
                    <a:srgbClr val="575757"/>
                  </a:solidFill>
                  <a:latin typeface="+mj-lt"/>
                  <a:sym typeface="Proxima Nova Rg" panose="02000506030000020004" pitchFamily="2" charset="0"/>
                </a:rPr>
                <a:t>relevance and engagement</a:t>
              </a:r>
            </a:p>
          </p:txBody>
        </p:sp>
        <p:sp>
          <p:nvSpPr>
            <p:cNvPr id="25" name="ee4pHeader2"/>
            <p:cNvSpPr txBox="1"/>
            <p:nvPr/>
          </p:nvSpPr>
          <p:spPr>
            <a:xfrm>
              <a:off x="8721110" y="3080625"/>
              <a:ext cx="2373610" cy="344179"/>
            </a:xfrm>
            <a:prstGeom prst="rect">
              <a:avLst/>
            </a:prstGeom>
            <a:noFill/>
            <a:ln cap="rnd">
              <a:noFill/>
            </a:ln>
          </p:spPr>
          <p:txBody>
            <a:bodyPr vert="horz" wrap="square" lIns="0" tIns="0" rIns="0" bIns="0" rtlCol="0" anchor="t" anchorCtr="0">
              <a:noAutofit/>
            </a:bodyPr>
            <a:lstStyle/>
            <a:p>
              <a:pPr marL="0" lvl="3"/>
              <a:r>
                <a:rPr lang="en-AU" sz="1400" dirty="0" smtClean="0">
                  <a:solidFill>
                    <a:srgbClr val="575757"/>
                  </a:solidFill>
                  <a:latin typeface="+mj-lt"/>
                  <a:sym typeface="Proxima Nova Rg" panose="02000506030000020004" pitchFamily="2" charset="0"/>
                </a:rPr>
                <a:t>Change behaviour through optimized value proposition (promo, message, channel)</a:t>
              </a:r>
              <a:endParaRPr lang="en-AU" sz="1400" dirty="0">
                <a:solidFill>
                  <a:srgbClr val="575757"/>
                </a:solidFill>
                <a:latin typeface="+mj-lt"/>
                <a:sym typeface="Proxima Nova Rg" panose="02000506030000020004" pitchFamily="2" charset="0"/>
              </a:endParaRPr>
            </a:p>
          </p:txBody>
        </p:sp>
        <p:sp>
          <p:nvSpPr>
            <p:cNvPr id="26" name="ee4pHeader2"/>
            <p:cNvSpPr txBox="1"/>
            <p:nvPr/>
          </p:nvSpPr>
          <p:spPr>
            <a:xfrm>
              <a:off x="4140352" y="3436406"/>
              <a:ext cx="2263137" cy="344179"/>
            </a:xfrm>
            <a:prstGeom prst="rect">
              <a:avLst/>
            </a:prstGeom>
            <a:noFill/>
            <a:ln cap="rnd">
              <a:noFill/>
            </a:ln>
          </p:spPr>
          <p:txBody>
            <a:bodyPr vert="horz" wrap="square" lIns="0" tIns="0" rIns="0" bIns="0" rtlCol="0" anchor="b" anchorCtr="0">
              <a:noAutofit/>
            </a:bodyPr>
            <a:lstStyle/>
            <a:p>
              <a:pPr marL="0" lvl="3"/>
              <a:r>
                <a:rPr lang="en-AU" sz="1600" dirty="0">
                  <a:solidFill>
                    <a:srgbClr val="29BA74"/>
                  </a:solidFill>
                  <a:latin typeface="+mj-lt"/>
                  <a:sym typeface="Proxima Nova Rg" panose="02000506030000020004" pitchFamily="2" charset="0"/>
                </a:rPr>
                <a:t>For </a:t>
              </a:r>
              <a:r>
                <a:rPr lang="en-AU" sz="1600" dirty="0" smtClean="0">
                  <a:solidFill>
                    <a:srgbClr val="29BA74"/>
                  </a:solidFill>
                  <a:latin typeface="+mj-lt"/>
                  <a:sym typeface="Proxima Nova Rg" panose="02000506030000020004" pitchFamily="2" charset="0"/>
                </a:rPr>
                <a:t>Cinépolis:</a:t>
              </a:r>
            </a:p>
            <a:p>
              <a:pPr marL="0" lvl="3"/>
              <a:r>
                <a:rPr lang="en-AU" sz="1600" dirty="0" smtClean="0">
                  <a:solidFill>
                    <a:srgbClr val="575757"/>
                  </a:solidFill>
                  <a:latin typeface="+mj-lt"/>
                  <a:sym typeface="Proxima Nova Rg" panose="02000506030000020004" pitchFamily="2" charset="0"/>
                </a:rPr>
                <a:t>Validate we can…</a:t>
              </a:r>
              <a:endParaRPr lang="en-AU" sz="1600" dirty="0">
                <a:solidFill>
                  <a:srgbClr val="575757"/>
                </a:solidFill>
                <a:latin typeface="+mj-lt"/>
                <a:sym typeface="Proxima Nova Rg" panose="02000506030000020004" pitchFamily="2" charset="0"/>
              </a:endParaRPr>
            </a:p>
          </p:txBody>
        </p:sp>
        <p:sp>
          <p:nvSpPr>
            <p:cNvPr id="27" name="ee4pHeader2"/>
            <p:cNvSpPr txBox="1"/>
            <p:nvPr/>
          </p:nvSpPr>
          <p:spPr>
            <a:xfrm>
              <a:off x="4140353" y="3854417"/>
              <a:ext cx="1856587" cy="344179"/>
            </a:xfrm>
            <a:prstGeom prst="rect">
              <a:avLst/>
            </a:prstGeom>
            <a:noFill/>
            <a:ln cap="rnd">
              <a:noFill/>
            </a:ln>
          </p:spPr>
          <p:txBody>
            <a:bodyPr vert="horz" wrap="square" lIns="0" tIns="0" rIns="0" bIns="0" rtlCol="0" anchor="t" anchorCtr="0">
              <a:noAutofit/>
            </a:bodyPr>
            <a:lstStyle/>
            <a:p>
              <a:pPr marL="0" lvl="3"/>
              <a:r>
                <a:rPr lang="en-AU" sz="1400" dirty="0" smtClean="0">
                  <a:solidFill>
                    <a:srgbClr val="575757"/>
                  </a:solidFill>
                  <a:latin typeface="+mj-lt"/>
                  <a:sym typeface="Proxima Nova Rg" panose="02000506030000020004" pitchFamily="2" charset="0"/>
                </a:rPr>
                <a:t>Learn from personalized customer behaviour and optimize offers value proposition</a:t>
              </a:r>
              <a:endParaRPr lang="en-AU" sz="1400" dirty="0">
                <a:solidFill>
                  <a:srgbClr val="575757"/>
                </a:solidFill>
                <a:latin typeface="+mj-lt"/>
                <a:sym typeface="Proxima Nova Rg" panose="02000506030000020004" pitchFamily="2" charset="0"/>
              </a:endParaRPr>
            </a:p>
          </p:txBody>
        </p:sp>
        <p:sp>
          <p:nvSpPr>
            <p:cNvPr id="28" name="ee4pHeader2"/>
            <p:cNvSpPr txBox="1"/>
            <p:nvPr/>
          </p:nvSpPr>
          <p:spPr>
            <a:xfrm>
              <a:off x="9545744" y="4989196"/>
              <a:ext cx="2017606" cy="344179"/>
            </a:xfrm>
            <a:prstGeom prst="rect">
              <a:avLst/>
            </a:prstGeom>
            <a:noFill/>
            <a:ln cap="rnd">
              <a:noFill/>
            </a:ln>
          </p:spPr>
          <p:txBody>
            <a:bodyPr vert="horz" wrap="square" lIns="0" tIns="0" rIns="0" bIns="0" rtlCol="0" anchor="b" anchorCtr="0">
              <a:noAutofit/>
            </a:bodyPr>
            <a:lstStyle/>
            <a:p>
              <a:pPr marL="0" lvl="3"/>
              <a:r>
                <a:rPr lang="en-AU" sz="1600" dirty="0">
                  <a:solidFill>
                    <a:srgbClr val="29BA74"/>
                  </a:solidFill>
                  <a:latin typeface="+mj-lt"/>
                  <a:sym typeface="Proxima Nova Rg" panose="02000506030000020004" pitchFamily="2" charset="0"/>
                </a:rPr>
                <a:t>For the team</a:t>
              </a:r>
              <a:r>
                <a:rPr lang="en-AU" sz="1600" dirty="0">
                  <a:solidFill>
                    <a:srgbClr val="414042"/>
                  </a:solidFill>
                  <a:latin typeface="+mj-lt"/>
                  <a:sym typeface="Proxima Nova Rg" panose="02000506030000020004" pitchFamily="2" charset="0"/>
                </a:rPr>
                <a:t>: </a:t>
              </a:r>
              <a:r>
                <a:rPr lang="en-AU" sz="1600" dirty="0" smtClean="0">
                  <a:solidFill>
                    <a:srgbClr val="575757"/>
                  </a:solidFill>
                  <a:latin typeface="+mj-lt"/>
                  <a:sym typeface="Proxima Nova Rg" panose="02000506030000020004" pitchFamily="2" charset="0"/>
                </a:rPr>
                <a:t>Improve </a:t>
              </a:r>
              <a:r>
                <a:rPr lang="en-AU" sz="1600" dirty="0">
                  <a:solidFill>
                    <a:srgbClr val="575757"/>
                  </a:solidFill>
                  <a:latin typeface="+mj-lt"/>
                  <a:sym typeface="Proxima Nova Rg" panose="02000506030000020004" pitchFamily="2" charset="0"/>
                </a:rPr>
                <a:t>ways of working</a:t>
              </a:r>
            </a:p>
          </p:txBody>
        </p:sp>
        <p:sp>
          <p:nvSpPr>
            <p:cNvPr id="29" name="ee4pHeader2"/>
            <p:cNvSpPr txBox="1"/>
            <p:nvPr/>
          </p:nvSpPr>
          <p:spPr>
            <a:xfrm>
              <a:off x="9545744" y="5418637"/>
              <a:ext cx="1914735" cy="345802"/>
            </a:xfrm>
            <a:prstGeom prst="rect">
              <a:avLst/>
            </a:prstGeom>
            <a:noFill/>
            <a:ln cap="rnd">
              <a:noFill/>
            </a:ln>
          </p:spPr>
          <p:txBody>
            <a:bodyPr vert="horz" wrap="square" lIns="0" tIns="0" rIns="0" bIns="0" rtlCol="0" anchor="t" anchorCtr="0">
              <a:noAutofit/>
            </a:bodyPr>
            <a:lstStyle/>
            <a:p>
              <a:pPr marL="0" lvl="3"/>
              <a:r>
                <a:rPr lang="en-AU" sz="1400" dirty="0" smtClean="0">
                  <a:solidFill>
                    <a:srgbClr val="575757"/>
                  </a:solidFill>
                  <a:latin typeface="+mj-lt"/>
                  <a:sym typeface="Proxima Nova Rg" panose="02000506030000020004" pitchFamily="2" charset="0"/>
                </a:rPr>
                <a:t>Enabling automation </a:t>
              </a:r>
              <a:r>
                <a:rPr lang="en-AU" sz="1400">
                  <a:solidFill>
                    <a:srgbClr val="575757"/>
                  </a:solidFill>
                  <a:latin typeface="+mj-lt"/>
                  <a:sym typeface="Proxima Nova Rg" panose="02000506030000020004" pitchFamily="2" charset="0"/>
                </a:rPr>
                <a:t>and </a:t>
              </a:r>
              <a:r>
                <a:rPr lang="en-AU" sz="1400" smtClean="0">
                  <a:solidFill>
                    <a:srgbClr val="575757"/>
                  </a:solidFill>
                  <a:latin typeface="+mj-lt"/>
                  <a:sym typeface="Proxima Nova Rg" panose="02000506030000020004" pitchFamily="2" charset="0"/>
                </a:rPr>
                <a:t>building </a:t>
              </a:r>
              <a:r>
                <a:rPr lang="en-AU" sz="1400" dirty="0">
                  <a:solidFill>
                    <a:srgbClr val="575757"/>
                  </a:solidFill>
                  <a:latin typeface="+mj-lt"/>
                  <a:sym typeface="Proxima Nova Rg" panose="02000506030000020004" pitchFamily="2" charset="0"/>
                </a:rPr>
                <a:t>new capabilities to drive </a:t>
              </a:r>
              <a:r>
                <a:rPr lang="en-AU" sz="1400" dirty="0" smtClean="0">
                  <a:solidFill>
                    <a:srgbClr val="575757"/>
                  </a:solidFill>
                  <a:latin typeface="+mj-lt"/>
                  <a:sym typeface="Proxima Nova Rg" panose="02000506030000020004" pitchFamily="2" charset="0"/>
                </a:rPr>
                <a:t>efficiency</a:t>
              </a:r>
              <a:endParaRPr lang="en-AU" sz="1400" dirty="0">
                <a:solidFill>
                  <a:srgbClr val="575757"/>
                </a:solidFill>
                <a:latin typeface="+mj-lt"/>
                <a:sym typeface="Proxima Nova Rg" panose="02000506030000020004" pitchFamily="2" charset="0"/>
              </a:endParaRPr>
            </a:p>
          </p:txBody>
        </p:sp>
        <p:grpSp>
          <p:nvGrpSpPr>
            <p:cNvPr id="30" name="bcgIcons_EventMeeting">
              <a:extLst>
                <a:ext uri="{FF2B5EF4-FFF2-40B4-BE49-F238E27FC236}">
                  <a16:creationId xmlns:a16="http://schemas.microsoft.com/office/drawing/2014/main" xmlns="" id="{417493E0-17F1-4708-AD3C-2EAE22CECF7C}"/>
                </a:ext>
              </a:extLst>
            </p:cNvPr>
            <p:cNvGrpSpPr>
              <a:grpSpLocks noChangeAspect="1"/>
            </p:cNvGrpSpPr>
            <p:nvPr/>
          </p:nvGrpSpPr>
          <p:grpSpPr bwMode="auto">
            <a:xfrm>
              <a:off x="6078949" y="4596798"/>
              <a:ext cx="1160417" cy="1161492"/>
              <a:chOff x="1682" y="0"/>
              <a:chExt cx="4316" cy="4320"/>
            </a:xfrm>
          </p:grpSpPr>
          <p:sp>
            <p:nvSpPr>
              <p:cNvPr id="31" name="AutoShape 38">
                <a:extLst>
                  <a:ext uri="{FF2B5EF4-FFF2-40B4-BE49-F238E27FC236}">
                    <a16:creationId xmlns:a16="http://schemas.microsoft.com/office/drawing/2014/main" xmlns="" id="{2EC54AC0-8829-4CC6-B917-26BF81442D4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40">
                <a:extLst>
                  <a:ext uri="{FF2B5EF4-FFF2-40B4-BE49-F238E27FC236}">
                    <a16:creationId xmlns:a16="http://schemas.microsoft.com/office/drawing/2014/main" xmlns="" id="{D57879F5-9B1E-462F-9BDA-EED0EB7A4B61}"/>
                  </a:ext>
                </a:extLst>
              </p:cNvPr>
              <p:cNvSpPr>
                <a:spLocks noEditPoints="1"/>
              </p:cNvSpPr>
              <p:nvPr/>
            </p:nvSpPr>
            <p:spPr bwMode="auto">
              <a:xfrm>
                <a:off x="1955" y="681"/>
                <a:ext cx="3766" cy="28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1">
                <a:extLst>
                  <a:ext uri="{FF2B5EF4-FFF2-40B4-BE49-F238E27FC236}">
                    <a16:creationId xmlns:a16="http://schemas.microsoft.com/office/drawing/2014/main" xmlns="" id="{D6078FFA-8F8C-4A72-858A-E911AAC5F6EA}"/>
                  </a:ext>
                </a:extLst>
              </p:cNvPr>
              <p:cNvSpPr>
                <a:spLocks/>
              </p:cNvSpPr>
              <p:nvPr/>
            </p:nvSpPr>
            <p:spPr bwMode="auto">
              <a:xfrm>
                <a:off x="3066" y="840"/>
                <a:ext cx="1544" cy="84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4" name="Group 33"/>
          <p:cNvGrpSpPr/>
          <p:nvPr/>
        </p:nvGrpSpPr>
        <p:grpSpPr>
          <a:xfrm>
            <a:off x="3588115" y="2081213"/>
            <a:ext cx="306171" cy="4079081"/>
            <a:chOff x="5942914" y="2081213"/>
            <a:chExt cx="306171" cy="4079081"/>
          </a:xfrm>
        </p:grpSpPr>
        <p:cxnSp>
          <p:nvCxnSpPr>
            <p:cNvPr id="35" name="Straight Connector 34"/>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942914" y="3967299"/>
              <a:ext cx="306171" cy="306910"/>
              <a:chOff x="5937564" y="3833745"/>
              <a:chExt cx="306171" cy="306910"/>
            </a:xfrm>
          </p:grpSpPr>
          <p:sp>
            <p:nvSpPr>
              <p:cNvPr id="37"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8"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39" name="ee4pHeader2"/>
          <p:cNvSpPr txBox="1"/>
          <p:nvPr/>
        </p:nvSpPr>
        <p:spPr>
          <a:xfrm>
            <a:off x="630000" y="1875001"/>
            <a:ext cx="1828633" cy="658368"/>
          </a:xfrm>
          <a:prstGeom prst="rect">
            <a:avLst/>
          </a:prstGeom>
          <a:noFill/>
          <a:ln cap="rnd">
            <a:noFill/>
          </a:ln>
        </p:spPr>
        <p:txBody>
          <a:bodyPr vert="horz" wrap="square" lIns="0" tIns="0" rIns="0" bIns="0" rtlCol="0" anchor="b" anchorCtr="0">
            <a:noAutofit/>
          </a:bodyPr>
          <a:lstStyle/>
          <a:p>
            <a:pPr marL="0" lvl="3"/>
            <a:r>
              <a:rPr lang="en-AU" sz="2400" b="1" dirty="0">
                <a:solidFill>
                  <a:srgbClr val="29BA74"/>
                </a:solidFill>
                <a:latin typeface="+mj-lt"/>
                <a:sym typeface="Proxima Nova Rg" panose="02000506030000020004" pitchFamily="2" charset="0"/>
              </a:rPr>
              <a:t>MVP Scope</a:t>
            </a:r>
          </a:p>
        </p:txBody>
      </p:sp>
      <p:grpSp>
        <p:nvGrpSpPr>
          <p:cNvPr id="68" name="Group 67"/>
          <p:cNvGrpSpPr/>
          <p:nvPr/>
        </p:nvGrpSpPr>
        <p:grpSpPr>
          <a:xfrm>
            <a:off x="716203" y="2750824"/>
            <a:ext cx="905354" cy="1058680"/>
            <a:chOff x="716203" y="2750824"/>
            <a:chExt cx="905354" cy="1058680"/>
          </a:xfrm>
        </p:grpSpPr>
        <p:grpSp>
          <p:nvGrpSpPr>
            <p:cNvPr id="40" name="Group 39"/>
            <p:cNvGrpSpPr/>
            <p:nvPr/>
          </p:nvGrpSpPr>
          <p:grpSpPr>
            <a:xfrm>
              <a:off x="827640" y="2750824"/>
              <a:ext cx="682480" cy="683112"/>
              <a:chOff x="5273802" y="2606040"/>
              <a:chExt cx="1644396" cy="1645920"/>
            </a:xfrm>
          </p:grpSpPr>
          <p:sp>
            <p:nvSpPr>
              <p:cNvPr id="41" name="AutoShape 28">
                <a:extLst>
                  <a:ext uri="{FF2B5EF4-FFF2-40B4-BE49-F238E27FC236}">
                    <a16:creationId xmlns="" xmlns:a16="http://schemas.microsoft.com/office/drawing/2014/main" id="{8C55685B-CB23-4476-B4EB-3A8E8DFB613A}"/>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grpSp>
            <p:nvGrpSpPr>
              <p:cNvPr id="42" name="Group 41"/>
              <p:cNvGrpSpPr/>
              <p:nvPr/>
            </p:nvGrpSpPr>
            <p:grpSpPr>
              <a:xfrm>
                <a:off x="5441442" y="2961132"/>
                <a:ext cx="1309116" cy="934212"/>
                <a:chOff x="5441442" y="2961132"/>
                <a:chExt cx="1309116" cy="934212"/>
              </a:xfrm>
            </p:grpSpPr>
            <p:sp>
              <p:nvSpPr>
                <p:cNvPr id="43" name="Freeform 30">
                  <a:extLst>
                    <a:ext uri="{FF2B5EF4-FFF2-40B4-BE49-F238E27FC236}">
                      <a16:creationId xmlns="" xmlns:a16="http://schemas.microsoft.com/office/drawing/2014/main" id="{EE54EB0E-EBC8-494D-964B-823F7A814A6A}"/>
                    </a:ext>
                  </a:extLst>
                </p:cNvPr>
                <p:cNvSpPr>
                  <a:spLocks noEditPoints="1"/>
                </p:cNvSpPr>
                <p:nvPr/>
              </p:nvSpPr>
              <p:spPr bwMode="auto">
                <a:xfrm>
                  <a:off x="5441442" y="2961132"/>
                  <a:ext cx="1309116" cy="934212"/>
                </a:xfrm>
                <a:custGeom>
                  <a:avLst/>
                  <a:gdLst>
                    <a:gd name="T0" fmla="*/ 351 w 1834"/>
                    <a:gd name="T1" fmla="*/ 1209 h 1308"/>
                    <a:gd name="T2" fmla="*/ 329 w 1834"/>
                    <a:gd name="T3" fmla="*/ 1187 h 1308"/>
                    <a:gd name="T4" fmla="*/ 329 w 1834"/>
                    <a:gd name="T5" fmla="*/ 139 h 1308"/>
                    <a:gd name="T6" fmla="*/ 351 w 1834"/>
                    <a:gd name="T7" fmla="*/ 117 h 1308"/>
                    <a:gd name="T8" fmla="*/ 373 w 1834"/>
                    <a:gd name="T9" fmla="*/ 139 h 1308"/>
                    <a:gd name="T10" fmla="*/ 373 w 1834"/>
                    <a:gd name="T11" fmla="*/ 1187 h 1308"/>
                    <a:gd name="T12" fmla="*/ 351 w 1834"/>
                    <a:gd name="T13" fmla="*/ 1209 h 1308"/>
                    <a:gd name="T14" fmla="*/ 1501 w 1834"/>
                    <a:gd name="T15" fmla="*/ 1187 h 1308"/>
                    <a:gd name="T16" fmla="*/ 1501 w 1834"/>
                    <a:gd name="T17" fmla="*/ 139 h 1308"/>
                    <a:gd name="T18" fmla="*/ 1479 w 1834"/>
                    <a:gd name="T19" fmla="*/ 117 h 1308"/>
                    <a:gd name="T20" fmla="*/ 1457 w 1834"/>
                    <a:gd name="T21" fmla="*/ 139 h 1308"/>
                    <a:gd name="T22" fmla="*/ 1457 w 1834"/>
                    <a:gd name="T23" fmla="*/ 1187 h 1308"/>
                    <a:gd name="T24" fmla="*/ 1479 w 1834"/>
                    <a:gd name="T25" fmla="*/ 1209 h 1308"/>
                    <a:gd name="T26" fmla="*/ 1501 w 1834"/>
                    <a:gd name="T27" fmla="*/ 1187 h 1308"/>
                    <a:gd name="T28" fmla="*/ 1219 w 1834"/>
                    <a:gd name="T29" fmla="*/ 1187 h 1308"/>
                    <a:gd name="T30" fmla="*/ 1219 w 1834"/>
                    <a:gd name="T31" fmla="*/ 139 h 1308"/>
                    <a:gd name="T32" fmla="*/ 1197 w 1834"/>
                    <a:gd name="T33" fmla="*/ 117 h 1308"/>
                    <a:gd name="T34" fmla="*/ 1175 w 1834"/>
                    <a:gd name="T35" fmla="*/ 139 h 1308"/>
                    <a:gd name="T36" fmla="*/ 1175 w 1834"/>
                    <a:gd name="T37" fmla="*/ 1187 h 1308"/>
                    <a:gd name="T38" fmla="*/ 1197 w 1834"/>
                    <a:gd name="T39" fmla="*/ 1209 h 1308"/>
                    <a:gd name="T40" fmla="*/ 1219 w 1834"/>
                    <a:gd name="T41" fmla="*/ 1187 h 1308"/>
                    <a:gd name="T42" fmla="*/ 937 w 1834"/>
                    <a:gd name="T43" fmla="*/ 1187 h 1308"/>
                    <a:gd name="T44" fmla="*/ 937 w 1834"/>
                    <a:gd name="T45" fmla="*/ 139 h 1308"/>
                    <a:gd name="T46" fmla="*/ 915 w 1834"/>
                    <a:gd name="T47" fmla="*/ 117 h 1308"/>
                    <a:gd name="T48" fmla="*/ 893 w 1834"/>
                    <a:gd name="T49" fmla="*/ 139 h 1308"/>
                    <a:gd name="T50" fmla="*/ 893 w 1834"/>
                    <a:gd name="T51" fmla="*/ 1187 h 1308"/>
                    <a:gd name="T52" fmla="*/ 915 w 1834"/>
                    <a:gd name="T53" fmla="*/ 1209 h 1308"/>
                    <a:gd name="T54" fmla="*/ 937 w 1834"/>
                    <a:gd name="T55" fmla="*/ 1187 h 1308"/>
                    <a:gd name="T56" fmla="*/ 655 w 1834"/>
                    <a:gd name="T57" fmla="*/ 1187 h 1308"/>
                    <a:gd name="T58" fmla="*/ 655 w 1834"/>
                    <a:gd name="T59" fmla="*/ 139 h 1308"/>
                    <a:gd name="T60" fmla="*/ 633 w 1834"/>
                    <a:gd name="T61" fmla="*/ 117 h 1308"/>
                    <a:gd name="T62" fmla="*/ 611 w 1834"/>
                    <a:gd name="T63" fmla="*/ 139 h 1308"/>
                    <a:gd name="T64" fmla="*/ 611 w 1834"/>
                    <a:gd name="T65" fmla="*/ 1187 h 1308"/>
                    <a:gd name="T66" fmla="*/ 633 w 1834"/>
                    <a:gd name="T67" fmla="*/ 1209 h 1308"/>
                    <a:gd name="T68" fmla="*/ 655 w 1834"/>
                    <a:gd name="T69" fmla="*/ 1187 h 1308"/>
                    <a:gd name="T70" fmla="*/ 1834 w 1834"/>
                    <a:gd name="T71" fmla="*/ 1264 h 1308"/>
                    <a:gd name="T72" fmla="*/ 1834 w 1834"/>
                    <a:gd name="T73" fmla="*/ 44 h 1308"/>
                    <a:gd name="T74" fmla="*/ 1790 w 1834"/>
                    <a:gd name="T75" fmla="*/ 0 h 1308"/>
                    <a:gd name="T76" fmla="*/ 44 w 1834"/>
                    <a:gd name="T77" fmla="*/ 0 h 1308"/>
                    <a:gd name="T78" fmla="*/ 0 w 1834"/>
                    <a:gd name="T79" fmla="*/ 44 h 1308"/>
                    <a:gd name="T80" fmla="*/ 0 w 1834"/>
                    <a:gd name="T81" fmla="*/ 1264 h 1308"/>
                    <a:gd name="T82" fmla="*/ 44 w 1834"/>
                    <a:gd name="T83" fmla="*/ 1308 h 1308"/>
                    <a:gd name="T84" fmla="*/ 1790 w 1834"/>
                    <a:gd name="T85" fmla="*/ 1308 h 1308"/>
                    <a:gd name="T86" fmla="*/ 1834 w 1834"/>
                    <a:gd name="T87" fmla="*/ 1264 h 1308"/>
                    <a:gd name="T88" fmla="*/ 1790 w 1834"/>
                    <a:gd name="T89" fmla="*/ 44 h 1308"/>
                    <a:gd name="T90" fmla="*/ 1790 w 1834"/>
                    <a:gd name="T91" fmla="*/ 1264 h 1308"/>
                    <a:gd name="T92" fmla="*/ 44 w 1834"/>
                    <a:gd name="T93" fmla="*/ 1264 h 1308"/>
                    <a:gd name="T94" fmla="*/ 44 w 1834"/>
                    <a:gd name="T95" fmla="*/ 44 h 1308"/>
                    <a:gd name="T96" fmla="*/ 1790 w 1834"/>
                    <a:gd name="T97" fmla="*/ 44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4" h="1308">
                      <a:moveTo>
                        <a:pt x="351" y="1209"/>
                      </a:moveTo>
                      <a:cubicBezTo>
                        <a:pt x="339" y="1209"/>
                        <a:pt x="329" y="1199"/>
                        <a:pt x="329" y="1187"/>
                      </a:cubicBezTo>
                      <a:cubicBezTo>
                        <a:pt x="329" y="139"/>
                        <a:pt x="329" y="139"/>
                        <a:pt x="329" y="139"/>
                      </a:cubicBezTo>
                      <a:cubicBezTo>
                        <a:pt x="329" y="127"/>
                        <a:pt x="339" y="117"/>
                        <a:pt x="351" y="117"/>
                      </a:cubicBezTo>
                      <a:cubicBezTo>
                        <a:pt x="364" y="117"/>
                        <a:pt x="373" y="127"/>
                        <a:pt x="373" y="139"/>
                      </a:cubicBezTo>
                      <a:cubicBezTo>
                        <a:pt x="373" y="1187"/>
                        <a:pt x="373" y="1187"/>
                        <a:pt x="373" y="1187"/>
                      </a:cubicBezTo>
                      <a:cubicBezTo>
                        <a:pt x="373" y="1199"/>
                        <a:pt x="364" y="1209"/>
                        <a:pt x="351" y="1209"/>
                      </a:cubicBezTo>
                      <a:close/>
                      <a:moveTo>
                        <a:pt x="1501" y="1187"/>
                      </a:moveTo>
                      <a:cubicBezTo>
                        <a:pt x="1501" y="139"/>
                        <a:pt x="1501" y="139"/>
                        <a:pt x="1501" y="139"/>
                      </a:cubicBezTo>
                      <a:cubicBezTo>
                        <a:pt x="1501" y="127"/>
                        <a:pt x="1491" y="117"/>
                        <a:pt x="1479" y="117"/>
                      </a:cubicBezTo>
                      <a:cubicBezTo>
                        <a:pt x="1467" y="117"/>
                        <a:pt x="1457" y="127"/>
                        <a:pt x="1457" y="139"/>
                      </a:cubicBezTo>
                      <a:cubicBezTo>
                        <a:pt x="1457" y="1187"/>
                        <a:pt x="1457" y="1187"/>
                        <a:pt x="1457" y="1187"/>
                      </a:cubicBezTo>
                      <a:cubicBezTo>
                        <a:pt x="1457" y="1199"/>
                        <a:pt x="1467" y="1209"/>
                        <a:pt x="1479" y="1209"/>
                      </a:cubicBezTo>
                      <a:cubicBezTo>
                        <a:pt x="1491" y="1209"/>
                        <a:pt x="1501" y="1199"/>
                        <a:pt x="1501" y="1187"/>
                      </a:cubicBezTo>
                      <a:close/>
                      <a:moveTo>
                        <a:pt x="1219" y="1187"/>
                      </a:moveTo>
                      <a:cubicBezTo>
                        <a:pt x="1219" y="139"/>
                        <a:pt x="1219" y="139"/>
                        <a:pt x="1219" y="139"/>
                      </a:cubicBezTo>
                      <a:cubicBezTo>
                        <a:pt x="1219" y="127"/>
                        <a:pt x="1209" y="117"/>
                        <a:pt x="1197" y="117"/>
                      </a:cubicBezTo>
                      <a:cubicBezTo>
                        <a:pt x="1185" y="117"/>
                        <a:pt x="1175" y="127"/>
                        <a:pt x="1175" y="139"/>
                      </a:cubicBezTo>
                      <a:cubicBezTo>
                        <a:pt x="1175" y="1187"/>
                        <a:pt x="1175" y="1187"/>
                        <a:pt x="1175" y="1187"/>
                      </a:cubicBezTo>
                      <a:cubicBezTo>
                        <a:pt x="1175" y="1199"/>
                        <a:pt x="1185" y="1209"/>
                        <a:pt x="1197" y="1209"/>
                      </a:cubicBezTo>
                      <a:cubicBezTo>
                        <a:pt x="1209" y="1209"/>
                        <a:pt x="1219" y="1199"/>
                        <a:pt x="1219" y="1187"/>
                      </a:cubicBezTo>
                      <a:close/>
                      <a:moveTo>
                        <a:pt x="937" y="1187"/>
                      </a:moveTo>
                      <a:cubicBezTo>
                        <a:pt x="937" y="139"/>
                        <a:pt x="937" y="139"/>
                        <a:pt x="937" y="139"/>
                      </a:cubicBezTo>
                      <a:cubicBezTo>
                        <a:pt x="937" y="127"/>
                        <a:pt x="927" y="117"/>
                        <a:pt x="915" y="117"/>
                      </a:cubicBezTo>
                      <a:cubicBezTo>
                        <a:pt x="903" y="117"/>
                        <a:pt x="893" y="127"/>
                        <a:pt x="893" y="139"/>
                      </a:cubicBezTo>
                      <a:cubicBezTo>
                        <a:pt x="893" y="1187"/>
                        <a:pt x="893" y="1187"/>
                        <a:pt x="893" y="1187"/>
                      </a:cubicBezTo>
                      <a:cubicBezTo>
                        <a:pt x="893" y="1199"/>
                        <a:pt x="903" y="1209"/>
                        <a:pt x="915" y="1209"/>
                      </a:cubicBezTo>
                      <a:cubicBezTo>
                        <a:pt x="927" y="1209"/>
                        <a:pt x="937" y="1199"/>
                        <a:pt x="937" y="1187"/>
                      </a:cubicBezTo>
                      <a:close/>
                      <a:moveTo>
                        <a:pt x="655" y="1187"/>
                      </a:moveTo>
                      <a:cubicBezTo>
                        <a:pt x="655" y="139"/>
                        <a:pt x="655" y="139"/>
                        <a:pt x="655" y="139"/>
                      </a:cubicBezTo>
                      <a:cubicBezTo>
                        <a:pt x="655" y="127"/>
                        <a:pt x="645" y="117"/>
                        <a:pt x="633" y="117"/>
                      </a:cubicBezTo>
                      <a:cubicBezTo>
                        <a:pt x="621" y="117"/>
                        <a:pt x="611" y="127"/>
                        <a:pt x="611" y="139"/>
                      </a:cubicBezTo>
                      <a:cubicBezTo>
                        <a:pt x="611" y="1187"/>
                        <a:pt x="611" y="1187"/>
                        <a:pt x="611" y="1187"/>
                      </a:cubicBezTo>
                      <a:cubicBezTo>
                        <a:pt x="611" y="1199"/>
                        <a:pt x="621" y="1209"/>
                        <a:pt x="633" y="1209"/>
                      </a:cubicBezTo>
                      <a:cubicBezTo>
                        <a:pt x="645" y="1209"/>
                        <a:pt x="655" y="1199"/>
                        <a:pt x="655" y="1187"/>
                      </a:cubicBezTo>
                      <a:close/>
                      <a:moveTo>
                        <a:pt x="1834" y="1264"/>
                      </a:moveTo>
                      <a:cubicBezTo>
                        <a:pt x="1834" y="44"/>
                        <a:pt x="1834" y="44"/>
                        <a:pt x="1834" y="44"/>
                      </a:cubicBezTo>
                      <a:cubicBezTo>
                        <a:pt x="1834" y="20"/>
                        <a:pt x="1814" y="0"/>
                        <a:pt x="1790" y="0"/>
                      </a:cubicBezTo>
                      <a:cubicBezTo>
                        <a:pt x="44" y="0"/>
                        <a:pt x="44" y="0"/>
                        <a:pt x="44" y="0"/>
                      </a:cubicBezTo>
                      <a:cubicBezTo>
                        <a:pt x="20" y="0"/>
                        <a:pt x="0" y="20"/>
                        <a:pt x="0" y="44"/>
                      </a:cubicBezTo>
                      <a:cubicBezTo>
                        <a:pt x="0" y="1264"/>
                        <a:pt x="0" y="1264"/>
                        <a:pt x="0" y="1264"/>
                      </a:cubicBezTo>
                      <a:cubicBezTo>
                        <a:pt x="0" y="1288"/>
                        <a:pt x="20" y="1308"/>
                        <a:pt x="44" y="1308"/>
                      </a:cubicBezTo>
                      <a:cubicBezTo>
                        <a:pt x="1790" y="1308"/>
                        <a:pt x="1790" y="1308"/>
                        <a:pt x="1790" y="1308"/>
                      </a:cubicBezTo>
                      <a:cubicBezTo>
                        <a:pt x="1814" y="1308"/>
                        <a:pt x="1834" y="1288"/>
                        <a:pt x="1834" y="1264"/>
                      </a:cubicBezTo>
                      <a:close/>
                      <a:moveTo>
                        <a:pt x="1790" y="44"/>
                      </a:moveTo>
                      <a:cubicBezTo>
                        <a:pt x="1790" y="1264"/>
                        <a:pt x="1790" y="1264"/>
                        <a:pt x="1790" y="1264"/>
                      </a:cubicBezTo>
                      <a:cubicBezTo>
                        <a:pt x="44" y="1264"/>
                        <a:pt x="44" y="1264"/>
                        <a:pt x="44" y="1264"/>
                      </a:cubicBezTo>
                      <a:cubicBezTo>
                        <a:pt x="44" y="44"/>
                        <a:pt x="44" y="44"/>
                        <a:pt x="44" y="44"/>
                      </a:cubicBezTo>
                      <a:lnTo>
                        <a:pt x="1790"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sp>
              <p:nvSpPr>
                <p:cNvPr id="44" name="Freeform 31">
                  <a:extLst>
                    <a:ext uri="{FF2B5EF4-FFF2-40B4-BE49-F238E27FC236}">
                      <a16:creationId xmlns="" xmlns:a16="http://schemas.microsoft.com/office/drawing/2014/main" id="{65D350EC-D508-4E42-81E6-877E0D5B4A95}"/>
                    </a:ext>
                  </a:extLst>
                </p:cNvPr>
                <p:cNvSpPr>
                  <a:spLocks noEditPoints="1"/>
                </p:cNvSpPr>
                <p:nvPr/>
              </p:nvSpPr>
              <p:spPr bwMode="auto">
                <a:xfrm>
                  <a:off x="5566410" y="3086100"/>
                  <a:ext cx="915162" cy="693801"/>
                </a:xfrm>
                <a:custGeom>
                  <a:avLst/>
                  <a:gdLst>
                    <a:gd name="T0" fmla="*/ 817 w 2402"/>
                    <a:gd name="T1" fmla="*/ 291 h 1821"/>
                    <a:gd name="T2" fmla="*/ 0 w 2402"/>
                    <a:gd name="T3" fmla="*/ 291 h 1821"/>
                    <a:gd name="T4" fmla="*/ 0 w 2402"/>
                    <a:gd name="T5" fmla="*/ 0 h 1821"/>
                    <a:gd name="T6" fmla="*/ 817 w 2402"/>
                    <a:gd name="T7" fmla="*/ 0 h 1821"/>
                    <a:gd name="T8" fmla="*/ 817 w 2402"/>
                    <a:gd name="T9" fmla="*/ 291 h 1821"/>
                    <a:gd name="T10" fmla="*/ 2402 w 2402"/>
                    <a:gd name="T11" fmla="*/ 1530 h 1821"/>
                    <a:gd name="T12" fmla="*/ 1427 w 2402"/>
                    <a:gd name="T13" fmla="*/ 1530 h 1821"/>
                    <a:gd name="T14" fmla="*/ 1427 w 2402"/>
                    <a:gd name="T15" fmla="*/ 1821 h 1821"/>
                    <a:gd name="T16" fmla="*/ 2402 w 2402"/>
                    <a:gd name="T17" fmla="*/ 1821 h 1821"/>
                    <a:gd name="T18" fmla="*/ 2402 w 2402"/>
                    <a:gd name="T19" fmla="*/ 1530 h 1821"/>
                    <a:gd name="T20" fmla="*/ 1873 w 2402"/>
                    <a:gd name="T21" fmla="*/ 381 h 1821"/>
                    <a:gd name="T22" fmla="*/ 899 w 2402"/>
                    <a:gd name="T23" fmla="*/ 381 h 1821"/>
                    <a:gd name="T24" fmla="*/ 899 w 2402"/>
                    <a:gd name="T25" fmla="*/ 671 h 1821"/>
                    <a:gd name="T26" fmla="*/ 1873 w 2402"/>
                    <a:gd name="T27" fmla="*/ 671 h 1821"/>
                    <a:gd name="T28" fmla="*/ 1873 w 2402"/>
                    <a:gd name="T29" fmla="*/ 381 h 1821"/>
                    <a:gd name="T30" fmla="*/ 1619 w 2402"/>
                    <a:gd name="T31" fmla="*/ 765 h 1821"/>
                    <a:gd name="T32" fmla="*/ 371 w 2402"/>
                    <a:gd name="T33" fmla="*/ 765 h 1821"/>
                    <a:gd name="T34" fmla="*/ 371 w 2402"/>
                    <a:gd name="T35" fmla="*/ 1056 h 1821"/>
                    <a:gd name="T36" fmla="*/ 1619 w 2402"/>
                    <a:gd name="T37" fmla="*/ 1056 h 1821"/>
                    <a:gd name="T38" fmla="*/ 1619 w 2402"/>
                    <a:gd name="T39" fmla="*/ 765 h 1821"/>
                    <a:gd name="T40" fmla="*/ 2402 w 2402"/>
                    <a:gd name="T41" fmla="*/ 1138 h 1821"/>
                    <a:gd name="T42" fmla="*/ 899 w 2402"/>
                    <a:gd name="T43" fmla="*/ 1138 h 1821"/>
                    <a:gd name="T44" fmla="*/ 899 w 2402"/>
                    <a:gd name="T45" fmla="*/ 1429 h 1821"/>
                    <a:gd name="T46" fmla="*/ 2402 w 2402"/>
                    <a:gd name="T47" fmla="*/ 1429 h 1821"/>
                    <a:gd name="T48" fmla="*/ 2402 w 2402"/>
                    <a:gd name="T49" fmla="*/ 1138 h 1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2" h="1821">
                      <a:moveTo>
                        <a:pt x="817" y="291"/>
                      </a:moveTo>
                      <a:lnTo>
                        <a:pt x="0" y="291"/>
                      </a:lnTo>
                      <a:lnTo>
                        <a:pt x="0" y="0"/>
                      </a:lnTo>
                      <a:lnTo>
                        <a:pt x="817" y="0"/>
                      </a:lnTo>
                      <a:lnTo>
                        <a:pt x="817" y="291"/>
                      </a:lnTo>
                      <a:close/>
                      <a:moveTo>
                        <a:pt x="2402" y="1530"/>
                      </a:moveTo>
                      <a:lnTo>
                        <a:pt x="1427" y="1530"/>
                      </a:lnTo>
                      <a:lnTo>
                        <a:pt x="1427" y="1821"/>
                      </a:lnTo>
                      <a:lnTo>
                        <a:pt x="2402" y="1821"/>
                      </a:lnTo>
                      <a:lnTo>
                        <a:pt x="2402" y="1530"/>
                      </a:lnTo>
                      <a:close/>
                      <a:moveTo>
                        <a:pt x="1873" y="381"/>
                      </a:moveTo>
                      <a:lnTo>
                        <a:pt x="899" y="381"/>
                      </a:lnTo>
                      <a:lnTo>
                        <a:pt x="899" y="671"/>
                      </a:lnTo>
                      <a:lnTo>
                        <a:pt x="1873" y="671"/>
                      </a:lnTo>
                      <a:lnTo>
                        <a:pt x="1873" y="381"/>
                      </a:lnTo>
                      <a:close/>
                      <a:moveTo>
                        <a:pt x="1619" y="765"/>
                      </a:moveTo>
                      <a:lnTo>
                        <a:pt x="371" y="765"/>
                      </a:lnTo>
                      <a:lnTo>
                        <a:pt x="371" y="1056"/>
                      </a:lnTo>
                      <a:lnTo>
                        <a:pt x="1619" y="1056"/>
                      </a:lnTo>
                      <a:lnTo>
                        <a:pt x="1619" y="765"/>
                      </a:lnTo>
                      <a:close/>
                      <a:moveTo>
                        <a:pt x="2402" y="1138"/>
                      </a:moveTo>
                      <a:lnTo>
                        <a:pt x="899" y="1138"/>
                      </a:lnTo>
                      <a:lnTo>
                        <a:pt x="899" y="1429"/>
                      </a:lnTo>
                      <a:lnTo>
                        <a:pt x="2402" y="1429"/>
                      </a:lnTo>
                      <a:lnTo>
                        <a:pt x="2402" y="11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grpSp>
        </p:grpSp>
        <p:sp>
          <p:nvSpPr>
            <p:cNvPr id="45" name="ee4pHeader2"/>
            <p:cNvSpPr txBox="1"/>
            <p:nvPr/>
          </p:nvSpPr>
          <p:spPr>
            <a:xfrm>
              <a:off x="716203" y="3378617"/>
              <a:ext cx="905354" cy="430887"/>
            </a:xfrm>
            <a:prstGeom prst="rect">
              <a:avLst/>
            </a:prstGeom>
            <a:noFill/>
            <a:ln cap="rnd">
              <a:noFill/>
            </a:ln>
          </p:spPr>
          <p:txBody>
            <a:bodyPr vert="horz" wrap="square" lIns="0" tIns="0" rIns="0" bIns="0" rtlCol="0" anchor="t" anchorCtr="0">
              <a:spAutoFit/>
            </a:bodyPr>
            <a:lstStyle/>
            <a:p>
              <a:pPr marL="0" lvl="3" algn="ctr"/>
              <a:r>
                <a:rPr lang="en-AU" sz="1400" dirty="0">
                  <a:solidFill>
                    <a:srgbClr val="575757"/>
                  </a:solidFill>
                  <a:latin typeface="+mj-lt"/>
                  <a:sym typeface="Proxima Nova Rg" panose="02000506030000020004" pitchFamily="2" charset="0"/>
                </a:rPr>
                <a:t>4</a:t>
              </a:r>
              <a:r>
                <a:rPr lang="en-AU" sz="1400" dirty="0" smtClean="0">
                  <a:solidFill>
                    <a:srgbClr val="575757"/>
                  </a:solidFill>
                  <a:latin typeface="+mj-lt"/>
                  <a:sym typeface="Proxima Nova Rg" panose="02000506030000020004" pitchFamily="2" charset="0"/>
                </a:rPr>
                <a:t> months of pilots</a:t>
              </a:r>
              <a:endParaRPr lang="en-AU" sz="1400" dirty="0">
                <a:solidFill>
                  <a:srgbClr val="575757"/>
                </a:solidFill>
                <a:latin typeface="+mj-lt"/>
                <a:sym typeface="Proxima Nova Rg" panose="02000506030000020004" pitchFamily="2" charset="0"/>
              </a:endParaRPr>
            </a:p>
          </p:txBody>
        </p:sp>
      </p:grpSp>
      <p:grpSp>
        <p:nvGrpSpPr>
          <p:cNvPr id="69" name="Group 68"/>
          <p:cNvGrpSpPr/>
          <p:nvPr/>
        </p:nvGrpSpPr>
        <p:grpSpPr>
          <a:xfrm>
            <a:off x="2081704" y="2678660"/>
            <a:ext cx="1437656" cy="1130844"/>
            <a:chOff x="433982" y="3921741"/>
            <a:chExt cx="1437656" cy="1130844"/>
          </a:xfrm>
        </p:grpSpPr>
        <p:grpSp>
          <p:nvGrpSpPr>
            <p:cNvPr id="46" name="bcgIcons_GoToMarket">
              <a:extLst>
                <a:ext uri="{FF2B5EF4-FFF2-40B4-BE49-F238E27FC236}">
                  <a16:creationId xmlns="" xmlns:a16="http://schemas.microsoft.com/office/drawing/2014/main" id="{80DCD6BF-47C8-41B6-935A-8B6D6CCE7BFE}"/>
                </a:ext>
              </a:extLst>
            </p:cNvPr>
            <p:cNvGrpSpPr>
              <a:grpSpLocks noChangeAspect="1"/>
            </p:cNvGrpSpPr>
            <p:nvPr/>
          </p:nvGrpSpPr>
          <p:grpSpPr bwMode="auto">
            <a:xfrm>
              <a:off x="811570" y="3921741"/>
              <a:ext cx="682480" cy="683112"/>
              <a:chOff x="1682" y="0"/>
              <a:chExt cx="4316" cy="4320"/>
            </a:xfrm>
          </p:grpSpPr>
          <p:sp>
            <p:nvSpPr>
              <p:cNvPr id="47" name="AutoShape 14">
                <a:extLst>
                  <a:ext uri="{FF2B5EF4-FFF2-40B4-BE49-F238E27FC236}">
                    <a16:creationId xmlns="" xmlns:a16="http://schemas.microsoft.com/office/drawing/2014/main" id="{6B6264DF-7B72-47C2-A253-60D979D85B1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sp>
            <p:nvSpPr>
              <p:cNvPr id="48" name="Freeform 16">
                <a:extLst>
                  <a:ext uri="{FF2B5EF4-FFF2-40B4-BE49-F238E27FC236}">
                    <a16:creationId xmlns="" xmlns:a16="http://schemas.microsoft.com/office/drawing/2014/main" id="{FF46FB5E-9D6C-47F1-A06B-2A72B07FF12A}"/>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sp>
            <p:nvSpPr>
              <p:cNvPr id="49" name="Freeform 17">
                <a:extLst>
                  <a:ext uri="{FF2B5EF4-FFF2-40B4-BE49-F238E27FC236}">
                    <a16:creationId xmlns="" xmlns:a16="http://schemas.microsoft.com/office/drawing/2014/main" id="{6B8AE4E4-9646-49AB-AFD2-4CB528364E93}"/>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grpSp>
        <p:sp>
          <p:nvSpPr>
            <p:cNvPr id="50" name="ee4pHeader2"/>
            <p:cNvSpPr txBox="1"/>
            <p:nvPr/>
          </p:nvSpPr>
          <p:spPr>
            <a:xfrm>
              <a:off x="433982" y="4621698"/>
              <a:ext cx="1437656" cy="430887"/>
            </a:xfrm>
            <a:prstGeom prst="rect">
              <a:avLst/>
            </a:prstGeom>
            <a:noFill/>
            <a:ln cap="rnd">
              <a:noFill/>
            </a:ln>
          </p:spPr>
          <p:txBody>
            <a:bodyPr vert="horz" wrap="square" lIns="0" tIns="0" rIns="0" bIns="0" rtlCol="0" anchor="t" anchorCtr="0">
              <a:spAutoFit/>
            </a:bodyPr>
            <a:lstStyle/>
            <a:p>
              <a:pPr marL="0" lvl="3" algn="ctr"/>
              <a:r>
                <a:rPr lang="en-AU" sz="1400" dirty="0" smtClean="0">
                  <a:solidFill>
                    <a:srgbClr val="575757"/>
                  </a:solidFill>
                  <a:latin typeface="+mj-lt"/>
                  <a:sym typeface="Proxima Nova Rg" panose="02000506030000020004" pitchFamily="2" charset="0"/>
                </a:rPr>
                <a:t>Test and learn &amp; capability </a:t>
              </a:r>
              <a:r>
                <a:rPr lang="en-AU" sz="1400" dirty="0">
                  <a:solidFill>
                    <a:srgbClr val="575757"/>
                  </a:solidFill>
                  <a:latin typeface="+mj-lt"/>
                  <a:sym typeface="Proxima Nova Rg" panose="02000506030000020004" pitchFamily="2" charset="0"/>
                </a:rPr>
                <a:t>build</a:t>
              </a:r>
            </a:p>
          </p:txBody>
        </p:sp>
      </p:grpSp>
      <p:grpSp>
        <p:nvGrpSpPr>
          <p:cNvPr id="71" name="Group 70"/>
          <p:cNvGrpSpPr/>
          <p:nvPr/>
        </p:nvGrpSpPr>
        <p:grpSpPr>
          <a:xfrm>
            <a:off x="2046742" y="4475836"/>
            <a:ext cx="1507581" cy="1286697"/>
            <a:chOff x="2197540" y="5290934"/>
            <a:chExt cx="1507581" cy="1286697"/>
          </a:xfrm>
        </p:grpSpPr>
        <p:grpSp>
          <p:nvGrpSpPr>
            <p:cNvPr id="51" name="bcgIcons_VennDiagramm">
              <a:extLst>
                <a:ext uri="{FF2B5EF4-FFF2-40B4-BE49-F238E27FC236}">
                  <a16:creationId xmlns="" xmlns:a16="http://schemas.microsoft.com/office/drawing/2014/main" id="{8ED50345-FB84-40FC-A083-3B89009B3E34}"/>
                </a:ext>
              </a:extLst>
            </p:cNvPr>
            <p:cNvGrpSpPr>
              <a:grpSpLocks noChangeAspect="1"/>
            </p:cNvGrpSpPr>
            <p:nvPr/>
          </p:nvGrpSpPr>
          <p:grpSpPr bwMode="auto">
            <a:xfrm>
              <a:off x="2610091" y="5290934"/>
              <a:ext cx="682480" cy="683112"/>
              <a:chOff x="1682" y="0"/>
              <a:chExt cx="4316" cy="4320"/>
            </a:xfrm>
          </p:grpSpPr>
          <p:sp>
            <p:nvSpPr>
              <p:cNvPr id="52" name="AutoShape 13">
                <a:extLst>
                  <a:ext uri="{FF2B5EF4-FFF2-40B4-BE49-F238E27FC236}">
                    <a16:creationId xmlns="" xmlns:a16="http://schemas.microsoft.com/office/drawing/2014/main" id="{839B9979-995A-4C7A-A734-F84B26A6570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sp>
            <p:nvSpPr>
              <p:cNvPr id="53" name="Freeform 15">
                <a:extLst>
                  <a:ext uri="{FF2B5EF4-FFF2-40B4-BE49-F238E27FC236}">
                    <a16:creationId xmlns="" xmlns:a16="http://schemas.microsoft.com/office/drawing/2014/main" id="{5E37EB71-F0CE-4796-A953-7ACB4A5A9FB3}"/>
                  </a:ext>
                </a:extLst>
              </p:cNvPr>
              <p:cNvSpPr>
                <a:spLocks/>
              </p:cNvSpPr>
              <p:nvPr/>
            </p:nvSpPr>
            <p:spPr bwMode="auto">
              <a:xfrm>
                <a:off x="3649" y="1573"/>
                <a:ext cx="378" cy="1178"/>
              </a:xfrm>
              <a:custGeom>
                <a:avLst/>
                <a:gdLst>
                  <a:gd name="T0" fmla="*/ 101 w 202"/>
                  <a:gd name="T1" fmla="*/ 628 h 628"/>
                  <a:gd name="T2" fmla="*/ 0 w 202"/>
                  <a:gd name="T3" fmla="*/ 314 h 628"/>
                  <a:gd name="T4" fmla="*/ 101 w 202"/>
                  <a:gd name="T5" fmla="*/ 0 h 628"/>
                  <a:gd name="T6" fmla="*/ 202 w 202"/>
                  <a:gd name="T7" fmla="*/ 314 h 628"/>
                  <a:gd name="T8" fmla="*/ 101 w 202"/>
                  <a:gd name="T9" fmla="*/ 628 h 628"/>
                </a:gdLst>
                <a:ahLst/>
                <a:cxnLst>
                  <a:cxn ang="0">
                    <a:pos x="T0" y="T1"/>
                  </a:cxn>
                  <a:cxn ang="0">
                    <a:pos x="T2" y="T3"/>
                  </a:cxn>
                  <a:cxn ang="0">
                    <a:pos x="T4" y="T5"/>
                  </a:cxn>
                  <a:cxn ang="0">
                    <a:pos x="T6" y="T7"/>
                  </a:cxn>
                  <a:cxn ang="0">
                    <a:pos x="T8" y="T9"/>
                  </a:cxn>
                </a:cxnLst>
                <a:rect l="0" t="0" r="r" b="b"/>
                <a:pathLst>
                  <a:path w="202" h="628">
                    <a:moveTo>
                      <a:pt x="101" y="628"/>
                    </a:moveTo>
                    <a:cubicBezTo>
                      <a:pt x="36" y="537"/>
                      <a:pt x="0" y="428"/>
                      <a:pt x="0" y="314"/>
                    </a:cubicBezTo>
                    <a:cubicBezTo>
                      <a:pt x="0" y="200"/>
                      <a:pt x="36" y="91"/>
                      <a:pt x="101" y="0"/>
                    </a:cubicBezTo>
                    <a:cubicBezTo>
                      <a:pt x="166" y="91"/>
                      <a:pt x="202" y="200"/>
                      <a:pt x="202" y="314"/>
                    </a:cubicBezTo>
                    <a:cubicBezTo>
                      <a:pt x="202" y="428"/>
                      <a:pt x="166" y="537"/>
                      <a:pt x="101" y="62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sp>
            <p:nvSpPr>
              <p:cNvPr id="54" name="Freeform 16">
                <a:extLst>
                  <a:ext uri="{FF2B5EF4-FFF2-40B4-BE49-F238E27FC236}">
                    <a16:creationId xmlns="" xmlns:a16="http://schemas.microsoft.com/office/drawing/2014/main" id="{345BE46E-6BB5-40AE-AC93-90D43D5166FC}"/>
                  </a:ext>
                </a:extLst>
              </p:cNvPr>
              <p:cNvSpPr>
                <a:spLocks noEditPoints="1"/>
              </p:cNvSpPr>
              <p:nvPr/>
            </p:nvSpPr>
            <p:spPr bwMode="auto">
              <a:xfrm>
                <a:off x="1847" y="988"/>
                <a:ext cx="3982" cy="2348"/>
              </a:xfrm>
              <a:custGeom>
                <a:avLst/>
                <a:gdLst>
                  <a:gd name="T0" fmla="*/ 1063 w 2126"/>
                  <a:gd name="T1" fmla="*/ 178 h 1252"/>
                  <a:gd name="T2" fmla="*/ 0 w 2126"/>
                  <a:gd name="T3" fmla="*/ 626 h 1252"/>
                  <a:gd name="T4" fmla="*/ 1063 w 2126"/>
                  <a:gd name="T5" fmla="*/ 1074 h 1252"/>
                  <a:gd name="T6" fmla="*/ 2126 w 2126"/>
                  <a:gd name="T7" fmla="*/ 626 h 1252"/>
                  <a:gd name="T8" fmla="*/ 1208 w 2126"/>
                  <a:gd name="T9" fmla="*/ 640 h 1252"/>
                  <a:gd name="T10" fmla="*/ 1207 w 2126"/>
                  <a:gd name="T11" fmla="*/ 655 h 1252"/>
                  <a:gd name="T12" fmla="*/ 1206 w 2126"/>
                  <a:gd name="T13" fmla="*/ 669 h 1252"/>
                  <a:gd name="T14" fmla="*/ 1205 w 2126"/>
                  <a:gd name="T15" fmla="*/ 683 h 1252"/>
                  <a:gd name="T16" fmla="*/ 1203 w 2126"/>
                  <a:gd name="T17" fmla="*/ 698 h 1252"/>
                  <a:gd name="T18" fmla="*/ 1201 w 2126"/>
                  <a:gd name="T19" fmla="*/ 714 h 1252"/>
                  <a:gd name="T20" fmla="*/ 1063 w 2126"/>
                  <a:gd name="T21" fmla="*/ 1010 h 1252"/>
                  <a:gd name="T22" fmla="*/ 925 w 2126"/>
                  <a:gd name="T23" fmla="*/ 714 h 1252"/>
                  <a:gd name="T24" fmla="*/ 923 w 2126"/>
                  <a:gd name="T25" fmla="*/ 698 h 1252"/>
                  <a:gd name="T26" fmla="*/ 921 w 2126"/>
                  <a:gd name="T27" fmla="*/ 683 h 1252"/>
                  <a:gd name="T28" fmla="*/ 920 w 2126"/>
                  <a:gd name="T29" fmla="*/ 669 h 1252"/>
                  <a:gd name="T30" fmla="*/ 919 w 2126"/>
                  <a:gd name="T31" fmla="*/ 655 h 1252"/>
                  <a:gd name="T32" fmla="*/ 918 w 2126"/>
                  <a:gd name="T33" fmla="*/ 640 h 1252"/>
                  <a:gd name="T34" fmla="*/ 918 w 2126"/>
                  <a:gd name="T35" fmla="*/ 612 h 1252"/>
                  <a:gd name="T36" fmla="*/ 919 w 2126"/>
                  <a:gd name="T37" fmla="*/ 597 h 1252"/>
                  <a:gd name="T38" fmla="*/ 920 w 2126"/>
                  <a:gd name="T39" fmla="*/ 583 h 1252"/>
                  <a:gd name="T40" fmla="*/ 921 w 2126"/>
                  <a:gd name="T41" fmla="*/ 569 h 1252"/>
                  <a:gd name="T42" fmla="*/ 923 w 2126"/>
                  <a:gd name="T43" fmla="*/ 554 h 1252"/>
                  <a:gd name="T44" fmla="*/ 925 w 2126"/>
                  <a:gd name="T45" fmla="*/ 538 h 1252"/>
                  <a:gd name="T46" fmla="*/ 1063 w 2126"/>
                  <a:gd name="T47" fmla="*/ 242 h 1252"/>
                  <a:gd name="T48" fmla="*/ 1201 w 2126"/>
                  <a:gd name="T49" fmla="*/ 538 h 1252"/>
                  <a:gd name="T50" fmla="*/ 1203 w 2126"/>
                  <a:gd name="T51" fmla="*/ 554 h 1252"/>
                  <a:gd name="T52" fmla="*/ 1205 w 2126"/>
                  <a:gd name="T53" fmla="*/ 569 h 1252"/>
                  <a:gd name="T54" fmla="*/ 1206 w 2126"/>
                  <a:gd name="T55" fmla="*/ 583 h 1252"/>
                  <a:gd name="T56" fmla="*/ 1207 w 2126"/>
                  <a:gd name="T57" fmla="*/ 597 h 1252"/>
                  <a:gd name="T58" fmla="*/ 1208 w 2126"/>
                  <a:gd name="T59" fmla="*/ 612 h 1252"/>
                  <a:gd name="T60" fmla="*/ 1208 w 2126"/>
                  <a:gd name="T61" fmla="*/ 640 h 1252"/>
                  <a:gd name="T62" fmla="*/ 626 w 2126"/>
                  <a:gd name="T63" fmla="*/ 44 h 1252"/>
                  <a:gd name="T64" fmla="*/ 882 w 2126"/>
                  <a:gd name="T65" fmla="*/ 530 h 1252"/>
                  <a:gd name="T66" fmla="*/ 880 w 2126"/>
                  <a:gd name="T67" fmla="*/ 545 h 1252"/>
                  <a:gd name="T68" fmla="*/ 878 w 2126"/>
                  <a:gd name="T69" fmla="*/ 559 h 1252"/>
                  <a:gd name="T70" fmla="*/ 876 w 2126"/>
                  <a:gd name="T71" fmla="*/ 574 h 1252"/>
                  <a:gd name="T72" fmla="*/ 875 w 2126"/>
                  <a:gd name="T73" fmla="*/ 590 h 1252"/>
                  <a:gd name="T74" fmla="*/ 875 w 2126"/>
                  <a:gd name="T75" fmla="*/ 606 h 1252"/>
                  <a:gd name="T76" fmla="*/ 874 w 2126"/>
                  <a:gd name="T77" fmla="*/ 626 h 1252"/>
                  <a:gd name="T78" fmla="*/ 875 w 2126"/>
                  <a:gd name="T79" fmla="*/ 646 h 1252"/>
                  <a:gd name="T80" fmla="*/ 875 w 2126"/>
                  <a:gd name="T81" fmla="*/ 662 h 1252"/>
                  <a:gd name="T82" fmla="*/ 876 w 2126"/>
                  <a:gd name="T83" fmla="*/ 678 h 1252"/>
                  <a:gd name="T84" fmla="*/ 878 w 2126"/>
                  <a:gd name="T85" fmla="*/ 693 h 1252"/>
                  <a:gd name="T86" fmla="*/ 880 w 2126"/>
                  <a:gd name="T87" fmla="*/ 707 h 1252"/>
                  <a:gd name="T88" fmla="*/ 882 w 2126"/>
                  <a:gd name="T89" fmla="*/ 722 h 1252"/>
                  <a:gd name="T90" fmla="*/ 626 w 2126"/>
                  <a:gd name="T91" fmla="*/ 1208 h 1252"/>
                  <a:gd name="T92" fmla="*/ 1500 w 2126"/>
                  <a:gd name="T93" fmla="*/ 1208 h 1252"/>
                  <a:gd name="T94" fmla="*/ 1244 w 2126"/>
                  <a:gd name="T95" fmla="*/ 722 h 1252"/>
                  <a:gd name="T96" fmla="*/ 1246 w 2126"/>
                  <a:gd name="T97" fmla="*/ 707 h 1252"/>
                  <a:gd name="T98" fmla="*/ 1248 w 2126"/>
                  <a:gd name="T99" fmla="*/ 693 h 1252"/>
                  <a:gd name="T100" fmla="*/ 1250 w 2126"/>
                  <a:gd name="T101" fmla="*/ 678 h 1252"/>
                  <a:gd name="T102" fmla="*/ 1251 w 2126"/>
                  <a:gd name="T103" fmla="*/ 662 h 1252"/>
                  <a:gd name="T104" fmla="*/ 1251 w 2126"/>
                  <a:gd name="T105" fmla="*/ 646 h 1252"/>
                  <a:gd name="T106" fmla="*/ 1252 w 2126"/>
                  <a:gd name="T107" fmla="*/ 626 h 1252"/>
                  <a:gd name="T108" fmla="*/ 1251 w 2126"/>
                  <a:gd name="T109" fmla="*/ 606 h 1252"/>
                  <a:gd name="T110" fmla="*/ 1251 w 2126"/>
                  <a:gd name="T111" fmla="*/ 590 h 1252"/>
                  <a:gd name="T112" fmla="*/ 1250 w 2126"/>
                  <a:gd name="T113" fmla="*/ 574 h 1252"/>
                  <a:gd name="T114" fmla="*/ 1248 w 2126"/>
                  <a:gd name="T115" fmla="*/ 559 h 1252"/>
                  <a:gd name="T116" fmla="*/ 1246 w 2126"/>
                  <a:gd name="T117" fmla="*/ 545 h 1252"/>
                  <a:gd name="T118" fmla="*/ 1244 w 2126"/>
                  <a:gd name="T119" fmla="*/ 530 h 1252"/>
                  <a:gd name="T120" fmla="*/ 1500 w 2126"/>
                  <a:gd name="T121" fmla="*/ 44 h 1252"/>
                  <a:gd name="T122" fmla="*/ 1500 w 2126"/>
                  <a:gd name="T123" fmla="*/ 1208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26" h="1252">
                    <a:moveTo>
                      <a:pt x="1500" y="0"/>
                    </a:moveTo>
                    <a:cubicBezTo>
                      <a:pt x="1330" y="0"/>
                      <a:pt x="1176" y="68"/>
                      <a:pt x="1063" y="178"/>
                    </a:cubicBezTo>
                    <a:cubicBezTo>
                      <a:pt x="950" y="68"/>
                      <a:pt x="796" y="0"/>
                      <a:pt x="626" y="0"/>
                    </a:cubicBezTo>
                    <a:cubicBezTo>
                      <a:pt x="281" y="0"/>
                      <a:pt x="0" y="281"/>
                      <a:pt x="0" y="626"/>
                    </a:cubicBezTo>
                    <a:cubicBezTo>
                      <a:pt x="0" y="971"/>
                      <a:pt x="281" y="1252"/>
                      <a:pt x="626" y="1252"/>
                    </a:cubicBezTo>
                    <a:cubicBezTo>
                      <a:pt x="796" y="1252"/>
                      <a:pt x="950" y="1184"/>
                      <a:pt x="1063" y="1074"/>
                    </a:cubicBezTo>
                    <a:cubicBezTo>
                      <a:pt x="1176" y="1184"/>
                      <a:pt x="1330" y="1252"/>
                      <a:pt x="1500" y="1252"/>
                    </a:cubicBezTo>
                    <a:cubicBezTo>
                      <a:pt x="1845" y="1252"/>
                      <a:pt x="2126" y="971"/>
                      <a:pt x="2126" y="626"/>
                    </a:cubicBezTo>
                    <a:cubicBezTo>
                      <a:pt x="2126" y="281"/>
                      <a:pt x="1845" y="0"/>
                      <a:pt x="1500" y="0"/>
                    </a:cubicBezTo>
                    <a:close/>
                    <a:moveTo>
                      <a:pt x="1208" y="640"/>
                    </a:moveTo>
                    <a:cubicBezTo>
                      <a:pt x="1208" y="642"/>
                      <a:pt x="1207" y="643"/>
                      <a:pt x="1207" y="645"/>
                    </a:cubicBezTo>
                    <a:cubicBezTo>
                      <a:pt x="1207" y="648"/>
                      <a:pt x="1207" y="651"/>
                      <a:pt x="1207" y="655"/>
                    </a:cubicBezTo>
                    <a:cubicBezTo>
                      <a:pt x="1207" y="656"/>
                      <a:pt x="1207" y="658"/>
                      <a:pt x="1207" y="659"/>
                    </a:cubicBezTo>
                    <a:cubicBezTo>
                      <a:pt x="1207" y="663"/>
                      <a:pt x="1206" y="666"/>
                      <a:pt x="1206" y="669"/>
                    </a:cubicBezTo>
                    <a:cubicBezTo>
                      <a:pt x="1206" y="670"/>
                      <a:pt x="1206" y="672"/>
                      <a:pt x="1206" y="674"/>
                    </a:cubicBezTo>
                    <a:cubicBezTo>
                      <a:pt x="1206" y="677"/>
                      <a:pt x="1205" y="680"/>
                      <a:pt x="1205" y="683"/>
                    </a:cubicBezTo>
                    <a:cubicBezTo>
                      <a:pt x="1205" y="685"/>
                      <a:pt x="1205" y="686"/>
                      <a:pt x="1205" y="687"/>
                    </a:cubicBezTo>
                    <a:cubicBezTo>
                      <a:pt x="1204" y="691"/>
                      <a:pt x="1204" y="695"/>
                      <a:pt x="1203" y="698"/>
                    </a:cubicBezTo>
                    <a:cubicBezTo>
                      <a:pt x="1203" y="699"/>
                      <a:pt x="1203" y="700"/>
                      <a:pt x="1203" y="701"/>
                    </a:cubicBezTo>
                    <a:cubicBezTo>
                      <a:pt x="1202" y="706"/>
                      <a:pt x="1202" y="710"/>
                      <a:pt x="1201" y="714"/>
                    </a:cubicBezTo>
                    <a:cubicBezTo>
                      <a:pt x="1201" y="714"/>
                      <a:pt x="1201" y="715"/>
                      <a:pt x="1201" y="715"/>
                    </a:cubicBezTo>
                    <a:cubicBezTo>
                      <a:pt x="1184" y="827"/>
                      <a:pt x="1135" y="928"/>
                      <a:pt x="1063" y="1010"/>
                    </a:cubicBezTo>
                    <a:cubicBezTo>
                      <a:pt x="991" y="928"/>
                      <a:pt x="942" y="827"/>
                      <a:pt x="925" y="715"/>
                    </a:cubicBezTo>
                    <a:cubicBezTo>
                      <a:pt x="925" y="715"/>
                      <a:pt x="925" y="714"/>
                      <a:pt x="925" y="714"/>
                    </a:cubicBezTo>
                    <a:cubicBezTo>
                      <a:pt x="924" y="710"/>
                      <a:pt x="924" y="706"/>
                      <a:pt x="923" y="701"/>
                    </a:cubicBezTo>
                    <a:cubicBezTo>
                      <a:pt x="923" y="700"/>
                      <a:pt x="923" y="699"/>
                      <a:pt x="923" y="698"/>
                    </a:cubicBezTo>
                    <a:cubicBezTo>
                      <a:pt x="922" y="695"/>
                      <a:pt x="922" y="691"/>
                      <a:pt x="921" y="687"/>
                    </a:cubicBezTo>
                    <a:cubicBezTo>
                      <a:pt x="921" y="686"/>
                      <a:pt x="921" y="685"/>
                      <a:pt x="921" y="683"/>
                    </a:cubicBezTo>
                    <a:cubicBezTo>
                      <a:pt x="921" y="680"/>
                      <a:pt x="920" y="677"/>
                      <a:pt x="920" y="674"/>
                    </a:cubicBezTo>
                    <a:cubicBezTo>
                      <a:pt x="920" y="672"/>
                      <a:pt x="920" y="670"/>
                      <a:pt x="920" y="669"/>
                    </a:cubicBezTo>
                    <a:cubicBezTo>
                      <a:pt x="920" y="666"/>
                      <a:pt x="919" y="663"/>
                      <a:pt x="919" y="659"/>
                    </a:cubicBezTo>
                    <a:cubicBezTo>
                      <a:pt x="919" y="658"/>
                      <a:pt x="919" y="656"/>
                      <a:pt x="919" y="655"/>
                    </a:cubicBezTo>
                    <a:cubicBezTo>
                      <a:pt x="919" y="651"/>
                      <a:pt x="919" y="648"/>
                      <a:pt x="919" y="645"/>
                    </a:cubicBezTo>
                    <a:cubicBezTo>
                      <a:pt x="919" y="643"/>
                      <a:pt x="918" y="642"/>
                      <a:pt x="918" y="640"/>
                    </a:cubicBezTo>
                    <a:cubicBezTo>
                      <a:pt x="918" y="636"/>
                      <a:pt x="918" y="631"/>
                      <a:pt x="918" y="626"/>
                    </a:cubicBezTo>
                    <a:cubicBezTo>
                      <a:pt x="918" y="621"/>
                      <a:pt x="918" y="616"/>
                      <a:pt x="918" y="612"/>
                    </a:cubicBezTo>
                    <a:cubicBezTo>
                      <a:pt x="918" y="610"/>
                      <a:pt x="919" y="609"/>
                      <a:pt x="919" y="607"/>
                    </a:cubicBezTo>
                    <a:cubicBezTo>
                      <a:pt x="919" y="604"/>
                      <a:pt x="919" y="601"/>
                      <a:pt x="919" y="597"/>
                    </a:cubicBezTo>
                    <a:cubicBezTo>
                      <a:pt x="919" y="596"/>
                      <a:pt x="919" y="594"/>
                      <a:pt x="919" y="593"/>
                    </a:cubicBezTo>
                    <a:cubicBezTo>
                      <a:pt x="919" y="589"/>
                      <a:pt x="920" y="586"/>
                      <a:pt x="920" y="583"/>
                    </a:cubicBezTo>
                    <a:cubicBezTo>
                      <a:pt x="920" y="582"/>
                      <a:pt x="920" y="580"/>
                      <a:pt x="920" y="578"/>
                    </a:cubicBezTo>
                    <a:cubicBezTo>
                      <a:pt x="920" y="575"/>
                      <a:pt x="921" y="572"/>
                      <a:pt x="921" y="569"/>
                    </a:cubicBezTo>
                    <a:cubicBezTo>
                      <a:pt x="921" y="567"/>
                      <a:pt x="921" y="566"/>
                      <a:pt x="921" y="565"/>
                    </a:cubicBezTo>
                    <a:cubicBezTo>
                      <a:pt x="922" y="561"/>
                      <a:pt x="922" y="557"/>
                      <a:pt x="923" y="554"/>
                    </a:cubicBezTo>
                    <a:cubicBezTo>
                      <a:pt x="923" y="553"/>
                      <a:pt x="923" y="552"/>
                      <a:pt x="923" y="551"/>
                    </a:cubicBezTo>
                    <a:cubicBezTo>
                      <a:pt x="924" y="546"/>
                      <a:pt x="924" y="542"/>
                      <a:pt x="925" y="538"/>
                    </a:cubicBezTo>
                    <a:cubicBezTo>
                      <a:pt x="925" y="538"/>
                      <a:pt x="925" y="537"/>
                      <a:pt x="925" y="537"/>
                    </a:cubicBezTo>
                    <a:cubicBezTo>
                      <a:pt x="942" y="425"/>
                      <a:pt x="991" y="324"/>
                      <a:pt x="1063" y="242"/>
                    </a:cubicBezTo>
                    <a:cubicBezTo>
                      <a:pt x="1135" y="324"/>
                      <a:pt x="1184" y="425"/>
                      <a:pt x="1201" y="537"/>
                    </a:cubicBezTo>
                    <a:cubicBezTo>
                      <a:pt x="1201" y="537"/>
                      <a:pt x="1201" y="538"/>
                      <a:pt x="1201" y="538"/>
                    </a:cubicBezTo>
                    <a:cubicBezTo>
                      <a:pt x="1202" y="542"/>
                      <a:pt x="1202" y="546"/>
                      <a:pt x="1203" y="551"/>
                    </a:cubicBezTo>
                    <a:cubicBezTo>
                      <a:pt x="1203" y="552"/>
                      <a:pt x="1203" y="553"/>
                      <a:pt x="1203" y="554"/>
                    </a:cubicBezTo>
                    <a:cubicBezTo>
                      <a:pt x="1204" y="557"/>
                      <a:pt x="1204" y="561"/>
                      <a:pt x="1205" y="565"/>
                    </a:cubicBezTo>
                    <a:cubicBezTo>
                      <a:pt x="1205" y="566"/>
                      <a:pt x="1205" y="567"/>
                      <a:pt x="1205" y="569"/>
                    </a:cubicBezTo>
                    <a:cubicBezTo>
                      <a:pt x="1205" y="572"/>
                      <a:pt x="1206" y="575"/>
                      <a:pt x="1206" y="578"/>
                    </a:cubicBezTo>
                    <a:cubicBezTo>
                      <a:pt x="1206" y="580"/>
                      <a:pt x="1206" y="582"/>
                      <a:pt x="1206" y="583"/>
                    </a:cubicBezTo>
                    <a:cubicBezTo>
                      <a:pt x="1206" y="586"/>
                      <a:pt x="1207" y="589"/>
                      <a:pt x="1207" y="593"/>
                    </a:cubicBezTo>
                    <a:cubicBezTo>
                      <a:pt x="1207" y="594"/>
                      <a:pt x="1207" y="596"/>
                      <a:pt x="1207" y="597"/>
                    </a:cubicBezTo>
                    <a:cubicBezTo>
                      <a:pt x="1207" y="601"/>
                      <a:pt x="1207" y="604"/>
                      <a:pt x="1207" y="607"/>
                    </a:cubicBezTo>
                    <a:cubicBezTo>
                      <a:pt x="1207" y="609"/>
                      <a:pt x="1208" y="610"/>
                      <a:pt x="1208" y="612"/>
                    </a:cubicBezTo>
                    <a:cubicBezTo>
                      <a:pt x="1208" y="616"/>
                      <a:pt x="1208" y="621"/>
                      <a:pt x="1208" y="626"/>
                    </a:cubicBezTo>
                    <a:cubicBezTo>
                      <a:pt x="1208" y="631"/>
                      <a:pt x="1208" y="636"/>
                      <a:pt x="1208" y="640"/>
                    </a:cubicBezTo>
                    <a:close/>
                    <a:moveTo>
                      <a:pt x="44" y="626"/>
                    </a:moveTo>
                    <a:cubicBezTo>
                      <a:pt x="44" y="305"/>
                      <a:pt x="305" y="44"/>
                      <a:pt x="626" y="44"/>
                    </a:cubicBezTo>
                    <a:cubicBezTo>
                      <a:pt x="784" y="44"/>
                      <a:pt x="927" y="107"/>
                      <a:pt x="1032" y="210"/>
                    </a:cubicBezTo>
                    <a:cubicBezTo>
                      <a:pt x="952" y="301"/>
                      <a:pt x="900" y="411"/>
                      <a:pt x="882" y="530"/>
                    </a:cubicBezTo>
                    <a:cubicBezTo>
                      <a:pt x="882" y="530"/>
                      <a:pt x="881" y="531"/>
                      <a:pt x="881" y="531"/>
                    </a:cubicBezTo>
                    <a:cubicBezTo>
                      <a:pt x="881" y="536"/>
                      <a:pt x="880" y="540"/>
                      <a:pt x="880" y="545"/>
                    </a:cubicBezTo>
                    <a:cubicBezTo>
                      <a:pt x="879" y="545"/>
                      <a:pt x="879" y="546"/>
                      <a:pt x="879" y="547"/>
                    </a:cubicBezTo>
                    <a:cubicBezTo>
                      <a:pt x="879" y="551"/>
                      <a:pt x="878" y="555"/>
                      <a:pt x="878" y="559"/>
                    </a:cubicBezTo>
                    <a:cubicBezTo>
                      <a:pt x="878" y="561"/>
                      <a:pt x="878" y="562"/>
                      <a:pt x="877" y="563"/>
                    </a:cubicBezTo>
                    <a:cubicBezTo>
                      <a:pt x="877" y="567"/>
                      <a:pt x="877" y="571"/>
                      <a:pt x="876" y="574"/>
                    </a:cubicBezTo>
                    <a:cubicBezTo>
                      <a:pt x="876" y="576"/>
                      <a:pt x="876" y="577"/>
                      <a:pt x="876" y="579"/>
                    </a:cubicBezTo>
                    <a:cubicBezTo>
                      <a:pt x="876" y="582"/>
                      <a:pt x="876" y="586"/>
                      <a:pt x="875" y="590"/>
                    </a:cubicBezTo>
                    <a:cubicBezTo>
                      <a:pt x="875" y="591"/>
                      <a:pt x="875" y="593"/>
                      <a:pt x="875" y="595"/>
                    </a:cubicBezTo>
                    <a:cubicBezTo>
                      <a:pt x="875" y="598"/>
                      <a:pt x="875" y="602"/>
                      <a:pt x="875" y="606"/>
                    </a:cubicBezTo>
                    <a:cubicBezTo>
                      <a:pt x="875" y="607"/>
                      <a:pt x="874" y="609"/>
                      <a:pt x="874" y="610"/>
                    </a:cubicBezTo>
                    <a:cubicBezTo>
                      <a:pt x="874" y="616"/>
                      <a:pt x="874" y="621"/>
                      <a:pt x="874" y="626"/>
                    </a:cubicBezTo>
                    <a:cubicBezTo>
                      <a:pt x="874" y="631"/>
                      <a:pt x="874" y="636"/>
                      <a:pt x="874" y="642"/>
                    </a:cubicBezTo>
                    <a:cubicBezTo>
                      <a:pt x="874" y="643"/>
                      <a:pt x="875" y="645"/>
                      <a:pt x="875" y="646"/>
                    </a:cubicBezTo>
                    <a:cubicBezTo>
                      <a:pt x="875" y="650"/>
                      <a:pt x="875" y="654"/>
                      <a:pt x="875" y="657"/>
                    </a:cubicBezTo>
                    <a:cubicBezTo>
                      <a:pt x="875" y="659"/>
                      <a:pt x="875" y="661"/>
                      <a:pt x="875" y="662"/>
                    </a:cubicBezTo>
                    <a:cubicBezTo>
                      <a:pt x="876" y="666"/>
                      <a:pt x="876" y="670"/>
                      <a:pt x="876" y="673"/>
                    </a:cubicBezTo>
                    <a:cubicBezTo>
                      <a:pt x="876" y="675"/>
                      <a:pt x="876" y="676"/>
                      <a:pt x="876" y="678"/>
                    </a:cubicBezTo>
                    <a:cubicBezTo>
                      <a:pt x="877" y="681"/>
                      <a:pt x="877" y="685"/>
                      <a:pt x="877" y="689"/>
                    </a:cubicBezTo>
                    <a:cubicBezTo>
                      <a:pt x="878" y="690"/>
                      <a:pt x="878" y="691"/>
                      <a:pt x="878" y="693"/>
                    </a:cubicBezTo>
                    <a:cubicBezTo>
                      <a:pt x="878" y="697"/>
                      <a:pt x="879" y="701"/>
                      <a:pt x="879" y="705"/>
                    </a:cubicBezTo>
                    <a:cubicBezTo>
                      <a:pt x="879" y="706"/>
                      <a:pt x="879" y="707"/>
                      <a:pt x="880" y="707"/>
                    </a:cubicBezTo>
                    <a:cubicBezTo>
                      <a:pt x="880" y="712"/>
                      <a:pt x="881" y="716"/>
                      <a:pt x="881" y="721"/>
                    </a:cubicBezTo>
                    <a:cubicBezTo>
                      <a:pt x="881" y="721"/>
                      <a:pt x="882" y="722"/>
                      <a:pt x="882" y="722"/>
                    </a:cubicBezTo>
                    <a:cubicBezTo>
                      <a:pt x="900" y="841"/>
                      <a:pt x="952" y="951"/>
                      <a:pt x="1032" y="1042"/>
                    </a:cubicBezTo>
                    <a:cubicBezTo>
                      <a:pt x="927" y="1145"/>
                      <a:pt x="784" y="1208"/>
                      <a:pt x="626" y="1208"/>
                    </a:cubicBezTo>
                    <a:cubicBezTo>
                      <a:pt x="305" y="1208"/>
                      <a:pt x="44" y="947"/>
                      <a:pt x="44" y="626"/>
                    </a:cubicBezTo>
                    <a:close/>
                    <a:moveTo>
                      <a:pt x="1500" y="1208"/>
                    </a:moveTo>
                    <a:cubicBezTo>
                      <a:pt x="1342" y="1208"/>
                      <a:pt x="1199" y="1145"/>
                      <a:pt x="1094" y="1042"/>
                    </a:cubicBezTo>
                    <a:cubicBezTo>
                      <a:pt x="1174" y="951"/>
                      <a:pt x="1226" y="841"/>
                      <a:pt x="1244" y="722"/>
                    </a:cubicBezTo>
                    <a:cubicBezTo>
                      <a:pt x="1244" y="722"/>
                      <a:pt x="1245" y="721"/>
                      <a:pt x="1245" y="721"/>
                    </a:cubicBezTo>
                    <a:cubicBezTo>
                      <a:pt x="1245" y="716"/>
                      <a:pt x="1246" y="712"/>
                      <a:pt x="1246" y="707"/>
                    </a:cubicBezTo>
                    <a:cubicBezTo>
                      <a:pt x="1247" y="707"/>
                      <a:pt x="1247" y="706"/>
                      <a:pt x="1247" y="705"/>
                    </a:cubicBezTo>
                    <a:cubicBezTo>
                      <a:pt x="1247" y="701"/>
                      <a:pt x="1248" y="697"/>
                      <a:pt x="1248" y="693"/>
                    </a:cubicBezTo>
                    <a:cubicBezTo>
                      <a:pt x="1248" y="691"/>
                      <a:pt x="1248" y="690"/>
                      <a:pt x="1249" y="689"/>
                    </a:cubicBezTo>
                    <a:cubicBezTo>
                      <a:pt x="1249" y="685"/>
                      <a:pt x="1249" y="681"/>
                      <a:pt x="1250" y="678"/>
                    </a:cubicBezTo>
                    <a:cubicBezTo>
                      <a:pt x="1250" y="676"/>
                      <a:pt x="1250" y="675"/>
                      <a:pt x="1250" y="673"/>
                    </a:cubicBezTo>
                    <a:cubicBezTo>
                      <a:pt x="1250" y="670"/>
                      <a:pt x="1250" y="666"/>
                      <a:pt x="1251" y="662"/>
                    </a:cubicBezTo>
                    <a:cubicBezTo>
                      <a:pt x="1251" y="661"/>
                      <a:pt x="1251" y="659"/>
                      <a:pt x="1251" y="657"/>
                    </a:cubicBezTo>
                    <a:cubicBezTo>
                      <a:pt x="1251" y="654"/>
                      <a:pt x="1251" y="650"/>
                      <a:pt x="1251" y="646"/>
                    </a:cubicBezTo>
                    <a:cubicBezTo>
                      <a:pt x="1251" y="645"/>
                      <a:pt x="1252" y="643"/>
                      <a:pt x="1252" y="642"/>
                    </a:cubicBezTo>
                    <a:cubicBezTo>
                      <a:pt x="1252" y="636"/>
                      <a:pt x="1252" y="631"/>
                      <a:pt x="1252" y="626"/>
                    </a:cubicBezTo>
                    <a:cubicBezTo>
                      <a:pt x="1252" y="621"/>
                      <a:pt x="1252" y="616"/>
                      <a:pt x="1252" y="610"/>
                    </a:cubicBezTo>
                    <a:cubicBezTo>
                      <a:pt x="1252" y="609"/>
                      <a:pt x="1251" y="607"/>
                      <a:pt x="1251" y="606"/>
                    </a:cubicBezTo>
                    <a:cubicBezTo>
                      <a:pt x="1251" y="602"/>
                      <a:pt x="1251" y="598"/>
                      <a:pt x="1251" y="595"/>
                    </a:cubicBezTo>
                    <a:cubicBezTo>
                      <a:pt x="1251" y="593"/>
                      <a:pt x="1251" y="591"/>
                      <a:pt x="1251" y="590"/>
                    </a:cubicBezTo>
                    <a:cubicBezTo>
                      <a:pt x="1250" y="586"/>
                      <a:pt x="1250" y="582"/>
                      <a:pt x="1250" y="579"/>
                    </a:cubicBezTo>
                    <a:cubicBezTo>
                      <a:pt x="1250" y="577"/>
                      <a:pt x="1250" y="576"/>
                      <a:pt x="1250" y="574"/>
                    </a:cubicBezTo>
                    <a:cubicBezTo>
                      <a:pt x="1249" y="571"/>
                      <a:pt x="1249" y="567"/>
                      <a:pt x="1249" y="563"/>
                    </a:cubicBezTo>
                    <a:cubicBezTo>
                      <a:pt x="1248" y="562"/>
                      <a:pt x="1248" y="561"/>
                      <a:pt x="1248" y="559"/>
                    </a:cubicBezTo>
                    <a:cubicBezTo>
                      <a:pt x="1248" y="555"/>
                      <a:pt x="1247" y="551"/>
                      <a:pt x="1247" y="547"/>
                    </a:cubicBezTo>
                    <a:cubicBezTo>
                      <a:pt x="1247" y="546"/>
                      <a:pt x="1247" y="545"/>
                      <a:pt x="1246" y="545"/>
                    </a:cubicBezTo>
                    <a:cubicBezTo>
                      <a:pt x="1246" y="540"/>
                      <a:pt x="1245" y="536"/>
                      <a:pt x="1245" y="531"/>
                    </a:cubicBezTo>
                    <a:cubicBezTo>
                      <a:pt x="1245" y="531"/>
                      <a:pt x="1244" y="530"/>
                      <a:pt x="1244" y="530"/>
                    </a:cubicBezTo>
                    <a:cubicBezTo>
                      <a:pt x="1226" y="411"/>
                      <a:pt x="1174" y="301"/>
                      <a:pt x="1094" y="210"/>
                    </a:cubicBezTo>
                    <a:cubicBezTo>
                      <a:pt x="1199" y="107"/>
                      <a:pt x="1342" y="44"/>
                      <a:pt x="1500" y="44"/>
                    </a:cubicBezTo>
                    <a:cubicBezTo>
                      <a:pt x="1821" y="44"/>
                      <a:pt x="2082" y="305"/>
                      <a:pt x="2082" y="626"/>
                    </a:cubicBezTo>
                    <a:cubicBezTo>
                      <a:pt x="2082" y="947"/>
                      <a:pt x="1821" y="1208"/>
                      <a:pt x="1500" y="12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sz="2000" dirty="0">
                  <a:solidFill>
                    <a:srgbClr val="575757"/>
                  </a:solidFill>
                </a:endParaRPr>
              </a:p>
            </p:txBody>
          </p:sp>
        </p:grpSp>
        <p:sp>
          <p:nvSpPr>
            <p:cNvPr id="55" name="ee4pHeader2"/>
            <p:cNvSpPr txBox="1"/>
            <p:nvPr/>
          </p:nvSpPr>
          <p:spPr>
            <a:xfrm>
              <a:off x="2197540" y="5931300"/>
              <a:ext cx="1507581" cy="646331"/>
            </a:xfrm>
            <a:prstGeom prst="rect">
              <a:avLst/>
            </a:prstGeom>
            <a:noFill/>
            <a:ln cap="rnd">
              <a:noFill/>
            </a:ln>
          </p:spPr>
          <p:txBody>
            <a:bodyPr vert="horz" wrap="square" lIns="0" tIns="0" rIns="0" bIns="0" rtlCol="0" anchor="t" anchorCtr="0">
              <a:spAutoFit/>
            </a:bodyPr>
            <a:lstStyle/>
            <a:p>
              <a:pPr marL="0" lvl="3" algn="ctr"/>
              <a:r>
                <a:rPr lang="en-AU" sz="1400" dirty="0" smtClean="0">
                  <a:solidFill>
                    <a:srgbClr val="575757"/>
                  </a:solidFill>
                  <a:latin typeface="+mj-lt"/>
                  <a:sym typeface="Proxima Nova Rg" panose="02000506030000020004" pitchFamily="2" charset="0"/>
                </a:rPr>
                <a:t>Dedicated sandbox ~18% </a:t>
              </a:r>
              <a:r>
                <a:rPr lang="en-AU" sz="1400" dirty="0">
                  <a:solidFill>
                    <a:srgbClr val="575757"/>
                  </a:solidFill>
                  <a:latin typeface="+mj-lt"/>
                  <a:sym typeface="Proxima Nova Rg" panose="02000506030000020004" pitchFamily="2" charset="0"/>
                </a:rPr>
                <a:t>of </a:t>
              </a:r>
              <a:r>
                <a:rPr lang="en-AU" sz="1400" dirty="0" smtClean="0">
                  <a:solidFill>
                    <a:srgbClr val="575757"/>
                  </a:solidFill>
                  <a:latin typeface="+mj-lt"/>
                  <a:sym typeface="Proxima Nova Rg" panose="02000506030000020004" pitchFamily="2" charset="0"/>
                </a:rPr>
                <a:t>active </a:t>
              </a:r>
              <a:r>
                <a:rPr lang="en-AU" sz="1400" dirty="0" err="1" smtClean="0">
                  <a:solidFill>
                    <a:srgbClr val="575757"/>
                  </a:solidFill>
                  <a:latin typeface="+mj-lt"/>
                  <a:sym typeface="Proxima Nova Rg" panose="02000506030000020004" pitchFamily="2" charset="0"/>
                </a:rPr>
                <a:t>TCC</a:t>
              </a:r>
              <a:r>
                <a:rPr lang="en-AU" sz="1400" dirty="0" smtClean="0">
                  <a:solidFill>
                    <a:srgbClr val="575757"/>
                  </a:solidFill>
                  <a:latin typeface="+mj-lt"/>
                  <a:sym typeface="Proxima Nova Rg" panose="02000506030000020004" pitchFamily="2" charset="0"/>
                </a:rPr>
                <a:t> base</a:t>
              </a:r>
              <a:endParaRPr lang="en-AU" sz="1400" dirty="0">
                <a:solidFill>
                  <a:srgbClr val="575757"/>
                </a:solidFill>
                <a:latin typeface="+mj-lt"/>
                <a:sym typeface="Proxima Nova Rg" panose="02000506030000020004" pitchFamily="2" charset="0"/>
              </a:endParaRPr>
            </a:p>
          </p:txBody>
        </p:sp>
      </p:grpSp>
      <p:grpSp>
        <p:nvGrpSpPr>
          <p:cNvPr id="72" name="Group 71"/>
          <p:cNvGrpSpPr/>
          <p:nvPr/>
        </p:nvGrpSpPr>
        <p:grpSpPr>
          <a:xfrm>
            <a:off x="460534" y="4527865"/>
            <a:ext cx="1416691" cy="1019224"/>
            <a:chOff x="460534" y="5342963"/>
            <a:chExt cx="1416691" cy="1019224"/>
          </a:xfrm>
        </p:grpSpPr>
        <p:grpSp>
          <p:nvGrpSpPr>
            <p:cNvPr id="70" name="Group 69"/>
            <p:cNvGrpSpPr/>
            <p:nvPr/>
          </p:nvGrpSpPr>
          <p:grpSpPr>
            <a:xfrm>
              <a:off x="798141" y="5342963"/>
              <a:ext cx="741477" cy="587950"/>
              <a:chOff x="795779" y="5342963"/>
              <a:chExt cx="741477" cy="587950"/>
            </a:xfrm>
          </p:grpSpPr>
          <p:grpSp>
            <p:nvGrpSpPr>
              <p:cNvPr id="56" name="bcgIcons_Email">
                <a:extLst>
                  <a:ext uri="{FF2B5EF4-FFF2-40B4-BE49-F238E27FC236}">
                    <a16:creationId xmlns:a16="http://schemas.microsoft.com/office/drawing/2014/main" xmlns="" id="{14E48010-362D-4F7B-81F1-B234BC46F8C6}"/>
                  </a:ext>
                </a:extLst>
              </p:cNvPr>
              <p:cNvGrpSpPr>
                <a:grpSpLocks noChangeAspect="1"/>
              </p:cNvGrpSpPr>
              <p:nvPr/>
            </p:nvGrpSpPr>
            <p:grpSpPr bwMode="auto">
              <a:xfrm>
                <a:off x="795779" y="5559837"/>
                <a:ext cx="370732" cy="371076"/>
                <a:chOff x="1682" y="0"/>
                <a:chExt cx="4316" cy="4320"/>
              </a:xfrm>
            </p:grpSpPr>
            <p:sp>
              <p:nvSpPr>
                <p:cNvPr id="57" name="AutoShape 13">
                  <a:extLst>
                    <a:ext uri="{FF2B5EF4-FFF2-40B4-BE49-F238E27FC236}">
                      <a16:creationId xmlns:a16="http://schemas.microsoft.com/office/drawing/2014/main" xmlns="" id="{4E99E364-E4F7-4087-BAC7-4C5CC78052C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AU" dirty="0">
                    <a:solidFill>
                      <a:srgbClr val="575757"/>
                    </a:solidFill>
                  </a:endParaRPr>
                </a:p>
              </p:txBody>
            </p:sp>
            <p:sp>
              <p:nvSpPr>
                <p:cNvPr id="58" name="Freeform 15">
                  <a:extLst>
                    <a:ext uri="{FF2B5EF4-FFF2-40B4-BE49-F238E27FC236}">
                      <a16:creationId xmlns:a16="http://schemas.microsoft.com/office/drawing/2014/main" xmlns="" id="{77D4DAC2-2D63-437A-9EE1-56FD5AE0604C}"/>
                    </a:ext>
                  </a:extLst>
                </p:cNvPr>
                <p:cNvSpPr>
                  <a:spLocks noEditPoints="1"/>
                </p:cNvSpPr>
                <p:nvPr/>
              </p:nvSpPr>
              <p:spPr bwMode="auto">
                <a:xfrm>
                  <a:off x="2446" y="1155"/>
                  <a:ext cx="2788" cy="2010"/>
                </a:xfrm>
                <a:custGeom>
                  <a:avLst/>
                  <a:gdLst>
                    <a:gd name="T0" fmla="*/ 1488 w 1488"/>
                    <a:gd name="T1" fmla="*/ 65 h 1072"/>
                    <a:gd name="T2" fmla="*/ 1488 w 1488"/>
                    <a:gd name="T3" fmla="*/ 1050 h 1072"/>
                    <a:gd name="T4" fmla="*/ 1477 w 1488"/>
                    <a:gd name="T5" fmla="*/ 1055 h 1072"/>
                    <a:gd name="T6" fmla="*/ 978 w 1488"/>
                    <a:gd name="T7" fmla="*/ 494 h 1072"/>
                    <a:gd name="T8" fmla="*/ 978 w 1488"/>
                    <a:gd name="T9" fmla="*/ 484 h 1072"/>
                    <a:gd name="T10" fmla="*/ 1488 w 1488"/>
                    <a:gd name="T11" fmla="*/ 65 h 1072"/>
                    <a:gd name="T12" fmla="*/ 1488 w 1488"/>
                    <a:gd name="T13" fmla="*/ 65 h 1072"/>
                    <a:gd name="T14" fmla="*/ 0 w 1488"/>
                    <a:gd name="T15" fmla="*/ 65 h 1072"/>
                    <a:gd name="T16" fmla="*/ 0 w 1488"/>
                    <a:gd name="T17" fmla="*/ 1050 h 1072"/>
                    <a:gd name="T18" fmla="*/ 11 w 1488"/>
                    <a:gd name="T19" fmla="*/ 1055 h 1072"/>
                    <a:gd name="T20" fmla="*/ 510 w 1488"/>
                    <a:gd name="T21" fmla="*/ 494 h 1072"/>
                    <a:gd name="T22" fmla="*/ 510 w 1488"/>
                    <a:gd name="T23" fmla="*/ 484 h 1072"/>
                    <a:gd name="T24" fmla="*/ 0 w 1488"/>
                    <a:gd name="T25" fmla="*/ 65 h 1072"/>
                    <a:gd name="T26" fmla="*/ 0 w 1488"/>
                    <a:gd name="T27" fmla="*/ 65 h 1072"/>
                    <a:gd name="T28" fmla="*/ 1399 w 1488"/>
                    <a:gd name="T29" fmla="*/ 1072 h 1072"/>
                    <a:gd name="T30" fmla="*/ 1399 w 1488"/>
                    <a:gd name="T31" fmla="*/ 1072 h 1072"/>
                    <a:gd name="T32" fmla="*/ 934 w 1488"/>
                    <a:gd name="T33" fmla="*/ 546 h 1072"/>
                    <a:gd name="T34" fmla="*/ 925 w 1488"/>
                    <a:gd name="T35" fmla="*/ 545 h 1072"/>
                    <a:gd name="T36" fmla="*/ 750 w 1488"/>
                    <a:gd name="T37" fmla="*/ 701 h 1072"/>
                    <a:gd name="T38" fmla="*/ 742 w 1488"/>
                    <a:gd name="T39" fmla="*/ 701 h 1072"/>
                    <a:gd name="T40" fmla="*/ 566 w 1488"/>
                    <a:gd name="T41" fmla="*/ 545 h 1072"/>
                    <a:gd name="T42" fmla="*/ 558 w 1488"/>
                    <a:gd name="T43" fmla="*/ 546 h 1072"/>
                    <a:gd name="T44" fmla="*/ 90 w 1488"/>
                    <a:gd name="T45" fmla="*/ 1061 h 1072"/>
                    <a:gd name="T46" fmla="*/ 95 w 1488"/>
                    <a:gd name="T47" fmla="*/ 1072 h 1072"/>
                    <a:gd name="T48" fmla="*/ 1399 w 1488"/>
                    <a:gd name="T49" fmla="*/ 1072 h 1072"/>
                    <a:gd name="T50" fmla="*/ 1399 w 1488"/>
                    <a:gd name="T51" fmla="*/ 1072 h 1072"/>
                    <a:gd name="T52" fmla="*/ 1461 w 1488"/>
                    <a:gd name="T53" fmla="*/ 0 h 1072"/>
                    <a:gd name="T54" fmla="*/ 27 w 1488"/>
                    <a:gd name="T55" fmla="*/ 0 h 1072"/>
                    <a:gd name="T56" fmla="*/ 23 w 1488"/>
                    <a:gd name="T57" fmla="*/ 11 h 1072"/>
                    <a:gd name="T58" fmla="*/ 738 w 1488"/>
                    <a:gd name="T59" fmla="*/ 605 h 1072"/>
                    <a:gd name="T60" fmla="*/ 746 w 1488"/>
                    <a:gd name="T61" fmla="*/ 605 h 1072"/>
                    <a:gd name="T62" fmla="*/ 1465 w 1488"/>
                    <a:gd name="T63" fmla="*/ 11 h 1072"/>
                    <a:gd name="T64" fmla="*/ 1461 w 1488"/>
                    <a:gd name="T65" fmla="*/ 0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8" h="1072">
                      <a:moveTo>
                        <a:pt x="1488" y="65"/>
                      </a:moveTo>
                      <a:cubicBezTo>
                        <a:pt x="1488" y="1050"/>
                        <a:pt x="1488" y="1050"/>
                        <a:pt x="1488" y="1050"/>
                      </a:cubicBezTo>
                      <a:cubicBezTo>
                        <a:pt x="1488" y="1056"/>
                        <a:pt x="1481" y="1059"/>
                        <a:pt x="1477" y="1055"/>
                      </a:cubicBezTo>
                      <a:cubicBezTo>
                        <a:pt x="978" y="494"/>
                        <a:pt x="978" y="494"/>
                        <a:pt x="978" y="494"/>
                      </a:cubicBezTo>
                      <a:cubicBezTo>
                        <a:pt x="975" y="491"/>
                        <a:pt x="976" y="487"/>
                        <a:pt x="978" y="484"/>
                      </a:cubicBezTo>
                      <a:cubicBezTo>
                        <a:pt x="1488" y="65"/>
                        <a:pt x="1488" y="65"/>
                        <a:pt x="1488" y="65"/>
                      </a:cubicBezTo>
                      <a:cubicBezTo>
                        <a:pt x="1488" y="65"/>
                        <a:pt x="1488" y="65"/>
                        <a:pt x="1488" y="65"/>
                      </a:cubicBezTo>
                      <a:close/>
                      <a:moveTo>
                        <a:pt x="0" y="65"/>
                      </a:moveTo>
                      <a:cubicBezTo>
                        <a:pt x="0" y="1050"/>
                        <a:pt x="0" y="1050"/>
                        <a:pt x="0" y="1050"/>
                      </a:cubicBezTo>
                      <a:cubicBezTo>
                        <a:pt x="0" y="1056"/>
                        <a:pt x="7" y="1059"/>
                        <a:pt x="11" y="1055"/>
                      </a:cubicBezTo>
                      <a:cubicBezTo>
                        <a:pt x="510" y="494"/>
                        <a:pt x="510" y="494"/>
                        <a:pt x="510" y="494"/>
                      </a:cubicBezTo>
                      <a:cubicBezTo>
                        <a:pt x="513" y="491"/>
                        <a:pt x="512" y="487"/>
                        <a:pt x="510" y="484"/>
                      </a:cubicBezTo>
                      <a:cubicBezTo>
                        <a:pt x="0" y="65"/>
                        <a:pt x="0" y="65"/>
                        <a:pt x="0" y="65"/>
                      </a:cubicBezTo>
                      <a:cubicBezTo>
                        <a:pt x="0" y="65"/>
                        <a:pt x="0" y="65"/>
                        <a:pt x="0" y="65"/>
                      </a:cubicBezTo>
                      <a:close/>
                      <a:moveTo>
                        <a:pt x="1399" y="1072"/>
                      </a:moveTo>
                      <a:cubicBezTo>
                        <a:pt x="1399" y="1072"/>
                        <a:pt x="1399" y="1072"/>
                        <a:pt x="1399" y="1072"/>
                      </a:cubicBezTo>
                      <a:cubicBezTo>
                        <a:pt x="934" y="546"/>
                        <a:pt x="934" y="546"/>
                        <a:pt x="934" y="546"/>
                      </a:cubicBezTo>
                      <a:cubicBezTo>
                        <a:pt x="931" y="543"/>
                        <a:pt x="928" y="542"/>
                        <a:pt x="925" y="545"/>
                      </a:cubicBezTo>
                      <a:cubicBezTo>
                        <a:pt x="750" y="701"/>
                        <a:pt x="750" y="701"/>
                        <a:pt x="750" y="701"/>
                      </a:cubicBezTo>
                      <a:cubicBezTo>
                        <a:pt x="748" y="703"/>
                        <a:pt x="744" y="703"/>
                        <a:pt x="742" y="701"/>
                      </a:cubicBezTo>
                      <a:cubicBezTo>
                        <a:pt x="566" y="545"/>
                        <a:pt x="566" y="545"/>
                        <a:pt x="566" y="545"/>
                      </a:cubicBezTo>
                      <a:cubicBezTo>
                        <a:pt x="564" y="542"/>
                        <a:pt x="560" y="542"/>
                        <a:pt x="558" y="546"/>
                      </a:cubicBezTo>
                      <a:cubicBezTo>
                        <a:pt x="90" y="1061"/>
                        <a:pt x="90" y="1061"/>
                        <a:pt x="90" y="1061"/>
                      </a:cubicBezTo>
                      <a:cubicBezTo>
                        <a:pt x="86" y="1065"/>
                        <a:pt x="89" y="1072"/>
                        <a:pt x="95" y="1072"/>
                      </a:cubicBezTo>
                      <a:cubicBezTo>
                        <a:pt x="1399" y="1072"/>
                        <a:pt x="1399" y="1072"/>
                        <a:pt x="1399" y="1072"/>
                      </a:cubicBezTo>
                      <a:cubicBezTo>
                        <a:pt x="1399" y="1072"/>
                        <a:pt x="1399" y="1072"/>
                        <a:pt x="1399" y="1072"/>
                      </a:cubicBezTo>
                      <a:close/>
                      <a:moveTo>
                        <a:pt x="1461" y="0"/>
                      </a:moveTo>
                      <a:cubicBezTo>
                        <a:pt x="27" y="0"/>
                        <a:pt x="27" y="0"/>
                        <a:pt x="27" y="0"/>
                      </a:cubicBezTo>
                      <a:cubicBezTo>
                        <a:pt x="21" y="0"/>
                        <a:pt x="19" y="8"/>
                        <a:pt x="23" y="11"/>
                      </a:cubicBezTo>
                      <a:cubicBezTo>
                        <a:pt x="738" y="605"/>
                        <a:pt x="738" y="605"/>
                        <a:pt x="738" y="605"/>
                      </a:cubicBezTo>
                      <a:cubicBezTo>
                        <a:pt x="740" y="607"/>
                        <a:pt x="743" y="607"/>
                        <a:pt x="746" y="605"/>
                      </a:cubicBezTo>
                      <a:cubicBezTo>
                        <a:pt x="1465" y="11"/>
                        <a:pt x="1465" y="11"/>
                        <a:pt x="1465" y="11"/>
                      </a:cubicBezTo>
                      <a:cubicBezTo>
                        <a:pt x="1469" y="8"/>
                        <a:pt x="1466" y="0"/>
                        <a:pt x="146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dirty="0">
                    <a:solidFill>
                      <a:srgbClr val="575757"/>
                    </a:solidFill>
                  </a:endParaRPr>
                </a:p>
              </p:txBody>
            </p:sp>
            <p:sp>
              <p:nvSpPr>
                <p:cNvPr id="59" name="Freeform 16">
                  <a:extLst>
                    <a:ext uri="{FF2B5EF4-FFF2-40B4-BE49-F238E27FC236}">
                      <a16:creationId xmlns:a16="http://schemas.microsoft.com/office/drawing/2014/main" xmlns="" id="{8A7CBF1E-CF5A-4A55-B118-1F8C4DA0FECA}"/>
                    </a:ext>
                  </a:extLst>
                </p:cNvPr>
                <p:cNvSpPr>
                  <a:spLocks noEditPoints="1"/>
                </p:cNvSpPr>
                <p:nvPr/>
              </p:nvSpPr>
              <p:spPr bwMode="auto">
                <a:xfrm>
                  <a:off x="2257" y="988"/>
                  <a:ext cx="3166" cy="2344"/>
                </a:xfrm>
                <a:custGeom>
                  <a:avLst/>
                  <a:gdLst>
                    <a:gd name="T0" fmla="*/ 1668 w 1690"/>
                    <a:gd name="T1" fmla="*/ 1250 h 1250"/>
                    <a:gd name="T2" fmla="*/ 22 w 1690"/>
                    <a:gd name="T3" fmla="*/ 1250 h 1250"/>
                    <a:gd name="T4" fmla="*/ 0 w 1690"/>
                    <a:gd name="T5" fmla="*/ 1228 h 1250"/>
                    <a:gd name="T6" fmla="*/ 0 w 1690"/>
                    <a:gd name="T7" fmla="*/ 22 h 1250"/>
                    <a:gd name="T8" fmla="*/ 22 w 1690"/>
                    <a:gd name="T9" fmla="*/ 0 h 1250"/>
                    <a:gd name="T10" fmla="*/ 1668 w 1690"/>
                    <a:gd name="T11" fmla="*/ 0 h 1250"/>
                    <a:gd name="T12" fmla="*/ 1690 w 1690"/>
                    <a:gd name="T13" fmla="*/ 22 h 1250"/>
                    <a:gd name="T14" fmla="*/ 1690 w 1690"/>
                    <a:gd name="T15" fmla="*/ 1228 h 1250"/>
                    <a:gd name="T16" fmla="*/ 1668 w 1690"/>
                    <a:gd name="T17" fmla="*/ 1250 h 1250"/>
                    <a:gd name="T18" fmla="*/ 44 w 1690"/>
                    <a:gd name="T19" fmla="*/ 1206 h 1250"/>
                    <a:gd name="T20" fmla="*/ 1646 w 1690"/>
                    <a:gd name="T21" fmla="*/ 1206 h 1250"/>
                    <a:gd name="T22" fmla="*/ 1646 w 1690"/>
                    <a:gd name="T23" fmla="*/ 44 h 1250"/>
                    <a:gd name="T24" fmla="*/ 44 w 1690"/>
                    <a:gd name="T25" fmla="*/ 44 h 1250"/>
                    <a:gd name="T26" fmla="*/ 44 w 1690"/>
                    <a:gd name="T27" fmla="*/ 1206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0" h="1250">
                      <a:moveTo>
                        <a:pt x="1668" y="1250"/>
                      </a:moveTo>
                      <a:cubicBezTo>
                        <a:pt x="22" y="1250"/>
                        <a:pt x="22" y="1250"/>
                        <a:pt x="22" y="1250"/>
                      </a:cubicBezTo>
                      <a:cubicBezTo>
                        <a:pt x="10" y="1250"/>
                        <a:pt x="0" y="1240"/>
                        <a:pt x="0" y="1228"/>
                      </a:cubicBezTo>
                      <a:cubicBezTo>
                        <a:pt x="0" y="22"/>
                        <a:pt x="0" y="22"/>
                        <a:pt x="0" y="22"/>
                      </a:cubicBezTo>
                      <a:cubicBezTo>
                        <a:pt x="0" y="10"/>
                        <a:pt x="10" y="0"/>
                        <a:pt x="22" y="0"/>
                      </a:cubicBezTo>
                      <a:cubicBezTo>
                        <a:pt x="1668" y="0"/>
                        <a:pt x="1668" y="0"/>
                        <a:pt x="1668" y="0"/>
                      </a:cubicBezTo>
                      <a:cubicBezTo>
                        <a:pt x="1680" y="0"/>
                        <a:pt x="1690" y="10"/>
                        <a:pt x="1690" y="22"/>
                      </a:cubicBezTo>
                      <a:cubicBezTo>
                        <a:pt x="1690" y="1228"/>
                        <a:pt x="1690" y="1228"/>
                        <a:pt x="1690" y="1228"/>
                      </a:cubicBezTo>
                      <a:cubicBezTo>
                        <a:pt x="1690" y="1240"/>
                        <a:pt x="1680" y="1250"/>
                        <a:pt x="1668" y="1250"/>
                      </a:cubicBezTo>
                      <a:close/>
                      <a:moveTo>
                        <a:pt x="44" y="1206"/>
                      </a:moveTo>
                      <a:cubicBezTo>
                        <a:pt x="1646" y="1206"/>
                        <a:pt x="1646" y="1206"/>
                        <a:pt x="1646" y="1206"/>
                      </a:cubicBezTo>
                      <a:cubicBezTo>
                        <a:pt x="1646" y="44"/>
                        <a:pt x="1646" y="44"/>
                        <a:pt x="1646" y="44"/>
                      </a:cubicBezTo>
                      <a:cubicBezTo>
                        <a:pt x="44" y="44"/>
                        <a:pt x="44" y="44"/>
                        <a:pt x="44" y="44"/>
                      </a:cubicBezTo>
                      <a:lnTo>
                        <a:pt x="44" y="12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AU" dirty="0">
                    <a:solidFill>
                      <a:srgbClr val="575757"/>
                    </a:solidFill>
                  </a:endParaRPr>
                </a:p>
              </p:txBody>
            </p:sp>
          </p:grpSp>
          <p:grpSp>
            <p:nvGrpSpPr>
              <p:cNvPr id="60" name="bcgIcons_SmartPhone2">
                <a:extLst>
                  <a:ext uri="{FF2B5EF4-FFF2-40B4-BE49-F238E27FC236}">
                    <a16:creationId xmlns:a16="http://schemas.microsoft.com/office/drawing/2014/main" xmlns="" id="{D1C18F8C-A742-414B-BC4C-F6CDEFED73DA}"/>
                  </a:ext>
                </a:extLst>
              </p:cNvPr>
              <p:cNvGrpSpPr>
                <a:grpSpLocks noChangeAspect="1"/>
              </p:cNvGrpSpPr>
              <p:nvPr/>
            </p:nvGrpSpPr>
            <p:grpSpPr bwMode="auto">
              <a:xfrm>
                <a:off x="1166524" y="5342963"/>
                <a:ext cx="370732" cy="371076"/>
                <a:chOff x="1682" y="0"/>
                <a:chExt cx="4316" cy="4320"/>
              </a:xfrm>
            </p:grpSpPr>
            <p:sp>
              <p:nvSpPr>
                <p:cNvPr id="61" name="AutoShape 24">
                  <a:extLst>
                    <a:ext uri="{FF2B5EF4-FFF2-40B4-BE49-F238E27FC236}">
                      <a16:creationId xmlns:a16="http://schemas.microsoft.com/office/drawing/2014/main" xmlns="" id="{451700E3-5D48-4BA1-AC32-45E2E712D47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62" name="Freeform 26">
                  <a:extLst>
                    <a:ext uri="{FF2B5EF4-FFF2-40B4-BE49-F238E27FC236}">
                      <a16:creationId xmlns:a16="http://schemas.microsoft.com/office/drawing/2014/main" xmlns="" id="{3EF9BF11-7781-49DE-B1BA-7F4C5D63C3C4}"/>
                    </a:ext>
                  </a:extLst>
                </p:cNvPr>
                <p:cNvSpPr>
                  <a:spLocks noEditPoints="1"/>
                </p:cNvSpPr>
                <p:nvPr/>
              </p:nvSpPr>
              <p:spPr bwMode="auto">
                <a:xfrm>
                  <a:off x="3083" y="726"/>
                  <a:ext cx="1510" cy="2865"/>
                </a:xfrm>
                <a:custGeom>
                  <a:avLst/>
                  <a:gdLst>
                    <a:gd name="T0" fmla="*/ 784 w 806"/>
                    <a:gd name="T1" fmla="*/ 0 h 1528"/>
                    <a:gd name="T2" fmla="*/ 22 w 806"/>
                    <a:gd name="T3" fmla="*/ 0 h 1528"/>
                    <a:gd name="T4" fmla="*/ 0 w 806"/>
                    <a:gd name="T5" fmla="*/ 22 h 1528"/>
                    <a:gd name="T6" fmla="*/ 0 w 806"/>
                    <a:gd name="T7" fmla="*/ 1252 h 1528"/>
                    <a:gd name="T8" fmla="*/ 0 w 806"/>
                    <a:gd name="T9" fmla="*/ 1296 h 1528"/>
                    <a:gd name="T10" fmla="*/ 0 w 806"/>
                    <a:gd name="T11" fmla="*/ 1506 h 1528"/>
                    <a:gd name="T12" fmla="*/ 22 w 806"/>
                    <a:gd name="T13" fmla="*/ 1528 h 1528"/>
                    <a:gd name="T14" fmla="*/ 784 w 806"/>
                    <a:gd name="T15" fmla="*/ 1528 h 1528"/>
                    <a:gd name="T16" fmla="*/ 806 w 806"/>
                    <a:gd name="T17" fmla="*/ 1506 h 1528"/>
                    <a:gd name="T18" fmla="*/ 806 w 806"/>
                    <a:gd name="T19" fmla="*/ 1296 h 1528"/>
                    <a:gd name="T20" fmla="*/ 806 w 806"/>
                    <a:gd name="T21" fmla="*/ 1252 h 1528"/>
                    <a:gd name="T22" fmla="*/ 806 w 806"/>
                    <a:gd name="T23" fmla="*/ 22 h 1528"/>
                    <a:gd name="T24" fmla="*/ 784 w 806"/>
                    <a:gd name="T25" fmla="*/ 0 h 1528"/>
                    <a:gd name="T26" fmla="*/ 762 w 806"/>
                    <a:gd name="T27" fmla="*/ 1484 h 1528"/>
                    <a:gd name="T28" fmla="*/ 44 w 806"/>
                    <a:gd name="T29" fmla="*/ 1484 h 1528"/>
                    <a:gd name="T30" fmla="*/ 44 w 806"/>
                    <a:gd name="T31" fmla="*/ 1296 h 1528"/>
                    <a:gd name="T32" fmla="*/ 762 w 806"/>
                    <a:gd name="T33" fmla="*/ 1296 h 1528"/>
                    <a:gd name="T34" fmla="*/ 762 w 806"/>
                    <a:gd name="T35" fmla="*/ 1484 h 1528"/>
                    <a:gd name="T36" fmla="*/ 44 w 806"/>
                    <a:gd name="T37" fmla="*/ 1252 h 1528"/>
                    <a:gd name="T38" fmla="*/ 44 w 806"/>
                    <a:gd name="T39" fmla="*/ 44 h 1528"/>
                    <a:gd name="T40" fmla="*/ 762 w 806"/>
                    <a:gd name="T41" fmla="*/ 44 h 1528"/>
                    <a:gd name="T42" fmla="*/ 762 w 806"/>
                    <a:gd name="T43" fmla="*/ 1252 h 1528"/>
                    <a:gd name="T44" fmla="*/ 44 w 806"/>
                    <a:gd name="T45" fmla="*/ 125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6" h="1528">
                      <a:moveTo>
                        <a:pt x="784" y="0"/>
                      </a:move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22"/>
                        <a:pt x="806" y="22"/>
                        <a:pt x="806" y="22"/>
                      </a:cubicBezTo>
                      <a:cubicBezTo>
                        <a:pt x="806" y="10"/>
                        <a:pt x="796" y="0"/>
                        <a:pt x="784" y="0"/>
                      </a:cubicBezTo>
                      <a:close/>
                      <a:moveTo>
                        <a:pt x="762" y="1484"/>
                      </a:moveTo>
                      <a:cubicBezTo>
                        <a:pt x="44" y="1484"/>
                        <a:pt x="44" y="1484"/>
                        <a:pt x="44" y="1484"/>
                      </a:cubicBezTo>
                      <a:cubicBezTo>
                        <a:pt x="44" y="1296"/>
                        <a:pt x="44" y="1296"/>
                        <a:pt x="44" y="1296"/>
                      </a:cubicBezTo>
                      <a:cubicBezTo>
                        <a:pt x="762" y="1296"/>
                        <a:pt x="762" y="1296"/>
                        <a:pt x="762" y="1296"/>
                      </a:cubicBezTo>
                      <a:lnTo>
                        <a:pt x="762" y="1484"/>
                      </a:lnTo>
                      <a:close/>
                      <a:moveTo>
                        <a:pt x="44" y="1252"/>
                      </a:moveTo>
                      <a:cubicBezTo>
                        <a:pt x="44" y="44"/>
                        <a:pt x="44" y="44"/>
                        <a:pt x="44" y="44"/>
                      </a:cubicBezTo>
                      <a:cubicBezTo>
                        <a:pt x="762" y="44"/>
                        <a:pt x="762" y="44"/>
                        <a:pt x="762" y="44"/>
                      </a:cubicBezTo>
                      <a:cubicBezTo>
                        <a:pt x="762" y="1252"/>
                        <a:pt x="762" y="1252"/>
                        <a:pt x="762" y="1252"/>
                      </a:cubicBezTo>
                      <a:lnTo>
                        <a:pt x="44" y="12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63" name="Freeform 27">
                  <a:extLst>
                    <a:ext uri="{FF2B5EF4-FFF2-40B4-BE49-F238E27FC236}">
                      <a16:creationId xmlns:a16="http://schemas.microsoft.com/office/drawing/2014/main" xmlns="" id="{31D13F10-D674-4D7F-B134-74DFDF9A5232}"/>
                    </a:ext>
                  </a:extLst>
                </p:cNvPr>
                <p:cNvSpPr>
                  <a:spLocks noEditPoints="1"/>
                </p:cNvSpPr>
                <p:nvPr/>
              </p:nvSpPr>
              <p:spPr bwMode="auto">
                <a:xfrm>
                  <a:off x="3237" y="917"/>
                  <a:ext cx="1195" cy="2512"/>
                </a:xfrm>
                <a:custGeom>
                  <a:avLst/>
                  <a:gdLst>
                    <a:gd name="T0" fmla="*/ 263 w 638"/>
                    <a:gd name="T1" fmla="*/ 1282 h 1340"/>
                    <a:gd name="T2" fmla="*/ 379 w 638"/>
                    <a:gd name="T3" fmla="*/ 1282 h 1340"/>
                    <a:gd name="T4" fmla="*/ 469 w 638"/>
                    <a:gd name="T5" fmla="*/ 22 h 1340"/>
                    <a:gd name="T6" fmla="*/ 195 w 638"/>
                    <a:gd name="T7" fmla="*/ 0 h 1340"/>
                    <a:gd name="T8" fmla="*/ 195 w 638"/>
                    <a:gd name="T9" fmla="*/ 44 h 1340"/>
                    <a:gd name="T10" fmla="*/ 469 w 638"/>
                    <a:gd name="T11" fmla="*/ 22 h 1340"/>
                    <a:gd name="T12" fmla="*/ 638 w 638"/>
                    <a:gd name="T13" fmla="*/ 1092 h 1340"/>
                    <a:gd name="T14" fmla="*/ 10 w 638"/>
                    <a:gd name="T15" fmla="*/ 1102 h 1340"/>
                    <a:gd name="T16" fmla="*/ 0 w 638"/>
                    <a:gd name="T17" fmla="*/ 115 h 1340"/>
                    <a:gd name="T18" fmla="*/ 628 w 638"/>
                    <a:gd name="T19" fmla="*/ 105 h 1340"/>
                    <a:gd name="T20" fmla="*/ 346 w 638"/>
                    <a:gd name="T21" fmla="*/ 302 h 1340"/>
                    <a:gd name="T22" fmla="*/ 373 w 638"/>
                    <a:gd name="T23" fmla="*/ 302 h 1340"/>
                    <a:gd name="T24" fmla="*/ 346 w 638"/>
                    <a:gd name="T25" fmla="*/ 302 h 1340"/>
                    <a:gd name="T26" fmla="*/ 308 w 638"/>
                    <a:gd name="T27" fmla="*/ 287 h 1340"/>
                    <a:gd name="T28" fmla="*/ 308 w 638"/>
                    <a:gd name="T29" fmla="*/ 260 h 1340"/>
                    <a:gd name="T30" fmla="*/ 247 w 638"/>
                    <a:gd name="T31" fmla="*/ 319 h 1340"/>
                    <a:gd name="T32" fmla="*/ 274 w 638"/>
                    <a:gd name="T33" fmla="*/ 319 h 1340"/>
                    <a:gd name="T34" fmla="*/ 247 w 638"/>
                    <a:gd name="T35" fmla="*/ 319 h 1340"/>
                    <a:gd name="T36" fmla="*/ 204 w 638"/>
                    <a:gd name="T37" fmla="*/ 721 h 1340"/>
                    <a:gd name="T38" fmla="*/ 110 w 638"/>
                    <a:gd name="T39" fmla="*/ 729 h 1340"/>
                    <a:gd name="T40" fmla="*/ 117 w 638"/>
                    <a:gd name="T41" fmla="*/ 1033 h 1340"/>
                    <a:gd name="T42" fmla="*/ 211 w 638"/>
                    <a:gd name="T43" fmla="*/ 1025 h 1340"/>
                    <a:gd name="T44" fmla="*/ 120 w 638"/>
                    <a:gd name="T45" fmla="*/ 472 h 1340"/>
                    <a:gd name="T46" fmla="*/ 120 w 638"/>
                    <a:gd name="T47" fmla="*/ 445 h 1340"/>
                    <a:gd name="T48" fmla="*/ 120 w 638"/>
                    <a:gd name="T49" fmla="*/ 472 h 1340"/>
                    <a:gd name="T50" fmla="*/ 180 w 638"/>
                    <a:gd name="T51" fmla="*/ 412 h 1340"/>
                    <a:gd name="T52" fmla="*/ 153 w 638"/>
                    <a:gd name="T53" fmla="*/ 412 h 1340"/>
                    <a:gd name="T54" fmla="*/ 369 w 638"/>
                    <a:gd name="T55" fmla="*/ 672 h 1340"/>
                    <a:gd name="T56" fmla="*/ 275 w 638"/>
                    <a:gd name="T57" fmla="*/ 663 h 1340"/>
                    <a:gd name="T58" fmla="*/ 267 w 638"/>
                    <a:gd name="T59" fmla="*/ 1023 h 1340"/>
                    <a:gd name="T60" fmla="*/ 361 w 638"/>
                    <a:gd name="T61" fmla="*/ 1033 h 1340"/>
                    <a:gd name="T62" fmla="*/ 369 w 638"/>
                    <a:gd name="T63" fmla="*/ 672 h 1340"/>
                    <a:gd name="T64" fmla="*/ 518 w 638"/>
                    <a:gd name="T65" fmla="*/ 610 h 1340"/>
                    <a:gd name="T66" fmla="*/ 424 w 638"/>
                    <a:gd name="T67" fmla="*/ 621 h 1340"/>
                    <a:gd name="T68" fmla="*/ 432 w 638"/>
                    <a:gd name="T69" fmla="*/ 1033 h 1340"/>
                    <a:gd name="T70" fmla="*/ 526 w 638"/>
                    <a:gd name="T71" fmla="*/ 1021 h 1340"/>
                    <a:gd name="T72" fmla="*/ 463 w 638"/>
                    <a:gd name="T73" fmla="*/ 373 h 1340"/>
                    <a:gd name="T74" fmla="*/ 463 w 638"/>
                    <a:gd name="T75" fmla="*/ 346 h 1340"/>
                    <a:gd name="T76" fmla="*/ 463 w 638"/>
                    <a:gd name="T77" fmla="*/ 373 h 1340"/>
                    <a:gd name="T78" fmla="*/ 515 w 638"/>
                    <a:gd name="T79" fmla="*/ 375 h 1340"/>
                    <a:gd name="T80" fmla="*/ 515 w 638"/>
                    <a:gd name="T81" fmla="*/ 402 h 1340"/>
                    <a:gd name="T82" fmla="*/ 550 w 638"/>
                    <a:gd name="T83" fmla="*/ 203 h 1340"/>
                    <a:gd name="T84" fmla="*/ 493 w 638"/>
                    <a:gd name="T85" fmla="*/ 203 h 1340"/>
                    <a:gd name="T86" fmla="*/ 341 w 638"/>
                    <a:gd name="T87" fmla="*/ 390 h 1340"/>
                    <a:gd name="T88" fmla="*/ 309 w 638"/>
                    <a:gd name="T89" fmla="*/ 393 h 1340"/>
                    <a:gd name="T90" fmla="*/ 117 w 638"/>
                    <a:gd name="T91" fmla="*/ 284 h 1340"/>
                    <a:gd name="T92" fmla="*/ 117 w 638"/>
                    <a:gd name="T93" fmla="*/ 342 h 1340"/>
                    <a:gd name="T94" fmla="*/ 299 w 638"/>
                    <a:gd name="T95" fmla="*/ 417 h 1340"/>
                    <a:gd name="T96" fmla="*/ 356 w 638"/>
                    <a:gd name="T97" fmla="*/ 415 h 1340"/>
                    <a:gd name="T98" fmla="*/ 515 w 638"/>
                    <a:gd name="T99" fmla="*/ 232 h 1340"/>
                    <a:gd name="T100" fmla="*/ 550 w 638"/>
                    <a:gd name="T101" fmla="*/ 203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8"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638" y="115"/>
                      </a:moveTo>
                      <a:cubicBezTo>
                        <a:pt x="638" y="1092"/>
                        <a:pt x="638" y="1092"/>
                        <a:pt x="638" y="1092"/>
                      </a:cubicBezTo>
                      <a:cubicBezTo>
                        <a:pt x="638" y="1098"/>
                        <a:pt x="634" y="1102"/>
                        <a:pt x="628" y="1102"/>
                      </a:cubicBezTo>
                      <a:cubicBezTo>
                        <a:pt x="10" y="1102"/>
                        <a:pt x="10" y="1102"/>
                        <a:pt x="10" y="1102"/>
                      </a:cubicBezTo>
                      <a:cubicBezTo>
                        <a:pt x="4" y="1102"/>
                        <a:pt x="0" y="1098"/>
                        <a:pt x="0" y="1092"/>
                      </a:cubicBezTo>
                      <a:cubicBezTo>
                        <a:pt x="0" y="115"/>
                        <a:pt x="0" y="115"/>
                        <a:pt x="0" y="115"/>
                      </a:cubicBezTo>
                      <a:cubicBezTo>
                        <a:pt x="0" y="110"/>
                        <a:pt x="4" y="105"/>
                        <a:pt x="10" y="105"/>
                      </a:cubicBezTo>
                      <a:cubicBezTo>
                        <a:pt x="628" y="105"/>
                        <a:pt x="628" y="105"/>
                        <a:pt x="628" y="105"/>
                      </a:cubicBezTo>
                      <a:cubicBezTo>
                        <a:pt x="634" y="105"/>
                        <a:pt x="638" y="110"/>
                        <a:pt x="638" y="115"/>
                      </a:cubicBezTo>
                      <a:close/>
                      <a:moveTo>
                        <a:pt x="346" y="302"/>
                      </a:moveTo>
                      <a:cubicBezTo>
                        <a:pt x="346" y="309"/>
                        <a:pt x="352" y="315"/>
                        <a:pt x="360" y="315"/>
                      </a:cubicBezTo>
                      <a:cubicBezTo>
                        <a:pt x="367" y="315"/>
                        <a:pt x="373" y="309"/>
                        <a:pt x="373" y="302"/>
                      </a:cubicBezTo>
                      <a:cubicBezTo>
                        <a:pt x="373" y="294"/>
                        <a:pt x="367" y="288"/>
                        <a:pt x="360" y="288"/>
                      </a:cubicBezTo>
                      <a:cubicBezTo>
                        <a:pt x="352" y="288"/>
                        <a:pt x="346" y="294"/>
                        <a:pt x="346" y="302"/>
                      </a:cubicBezTo>
                      <a:close/>
                      <a:moveTo>
                        <a:pt x="294" y="273"/>
                      </a:moveTo>
                      <a:cubicBezTo>
                        <a:pt x="294" y="281"/>
                        <a:pt x="300" y="287"/>
                        <a:pt x="308" y="287"/>
                      </a:cubicBezTo>
                      <a:cubicBezTo>
                        <a:pt x="315" y="287"/>
                        <a:pt x="321" y="281"/>
                        <a:pt x="321" y="273"/>
                      </a:cubicBezTo>
                      <a:cubicBezTo>
                        <a:pt x="321" y="266"/>
                        <a:pt x="315" y="260"/>
                        <a:pt x="308" y="260"/>
                      </a:cubicBezTo>
                      <a:cubicBezTo>
                        <a:pt x="300" y="260"/>
                        <a:pt x="294" y="266"/>
                        <a:pt x="294" y="273"/>
                      </a:cubicBezTo>
                      <a:close/>
                      <a:moveTo>
                        <a:pt x="247" y="319"/>
                      </a:moveTo>
                      <a:cubicBezTo>
                        <a:pt x="247" y="327"/>
                        <a:pt x="253" y="333"/>
                        <a:pt x="261" y="333"/>
                      </a:cubicBezTo>
                      <a:cubicBezTo>
                        <a:pt x="268" y="333"/>
                        <a:pt x="274" y="327"/>
                        <a:pt x="274" y="319"/>
                      </a:cubicBezTo>
                      <a:cubicBezTo>
                        <a:pt x="274" y="312"/>
                        <a:pt x="268" y="306"/>
                        <a:pt x="261" y="306"/>
                      </a:cubicBezTo>
                      <a:cubicBezTo>
                        <a:pt x="253" y="306"/>
                        <a:pt x="247" y="312"/>
                        <a:pt x="247" y="319"/>
                      </a:cubicBezTo>
                      <a:close/>
                      <a:moveTo>
                        <a:pt x="211" y="729"/>
                      </a:moveTo>
                      <a:cubicBezTo>
                        <a:pt x="211" y="724"/>
                        <a:pt x="209" y="721"/>
                        <a:pt x="204" y="721"/>
                      </a:cubicBezTo>
                      <a:cubicBezTo>
                        <a:pt x="117" y="721"/>
                        <a:pt x="117" y="721"/>
                        <a:pt x="117" y="721"/>
                      </a:cubicBezTo>
                      <a:cubicBezTo>
                        <a:pt x="113" y="721"/>
                        <a:pt x="110" y="724"/>
                        <a:pt x="110" y="729"/>
                      </a:cubicBezTo>
                      <a:cubicBezTo>
                        <a:pt x="110" y="1025"/>
                        <a:pt x="110" y="1025"/>
                        <a:pt x="110" y="1025"/>
                      </a:cubicBezTo>
                      <a:cubicBezTo>
                        <a:pt x="110" y="1029"/>
                        <a:pt x="113" y="1033"/>
                        <a:pt x="117" y="1033"/>
                      </a:cubicBezTo>
                      <a:cubicBezTo>
                        <a:pt x="204" y="1033"/>
                        <a:pt x="204" y="1033"/>
                        <a:pt x="204" y="1033"/>
                      </a:cubicBezTo>
                      <a:cubicBezTo>
                        <a:pt x="209" y="1033"/>
                        <a:pt x="211" y="1029"/>
                        <a:pt x="211" y="1025"/>
                      </a:cubicBezTo>
                      <a:cubicBezTo>
                        <a:pt x="211" y="729"/>
                        <a:pt x="211" y="729"/>
                        <a:pt x="211" y="729"/>
                      </a:cubicBezTo>
                      <a:close/>
                      <a:moveTo>
                        <a:pt x="120" y="472"/>
                      </a:moveTo>
                      <a:cubicBezTo>
                        <a:pt x="128" y="472"/>
                        <a:pt x="134" y="466"/>
                        <a:pt x="134" y="459"/>
                      </a:cubicBezTo>
                      <a:cubicBezTo>
                        <a:pt x="134" y="451"/>
                        <a:pt x="128" y="445"/>
                        <a:pt x="120" y="445"/>
                      </a:cubicBezTo>
                      <a:cubicBezTo>
                        <a:pt x="113" y="445"/>
                        <a:pt x="107" y="451"/>
                        <a:pt x="107" y="459"/>
                      </a:cubicBezTo>
                      <a:cubicBezTo>
                        <a:pt x="107" y="466"/>
                        <a:pt x="113" y="472"/>
                        <a:pt x="120" y="472"/>
                      </a:cubicBezTo>
                      <a:close/>
                      <a:moveTo>
                        <a:pt x="167" y="426"/>
                      </a:moveTo>
                      <a:cubicBezTo>
                        <a:pt x="174" y="426"/>
                        <a:pt x="180" y="420"/>
                        <a:pt x="180" y="412"/>
                      </a:cubicBezTo>
                      <a:cubicBezTo>
                        <a:pt x="180" y="405"/>
                        <a:pt x="174" y="399"/>
                        <a:pt x="167" y="399"/>
                      </a:cubicBezTo>
                      <a:cubicBezTo>
                        <a:pt x="159" y="399"/>
                        <a:pt x="153" y="405"/>
                        <a:pt x="153" y="412"/>
                      </a:cubicBezTo>
                      <a:cubicBezTo>
                        <a:pt x="153" y="420"/>
                        <a:pt x="159" y="426"/>
                        <a:pt x="167" y="426"/>
                      </a:cubicBezTo>
                      <a:close/>
                      <a:moveTo>
                        <a:pt x="369" y="672"/>
                      </a:moveTo>
                      <a:cubicBezTo>
                        <a:pt x="369" y="667"/>
                        <a:pt x="365" y="663"/>
                        <a:pt x="361" y="663"/>
                      </a:cubicBezTo>
                      <a:cubicBezTo>
                        <a:pt x="275" y="663"/>
                        <a:pt x="275" y="663"/>
                        <a:pt x="275" y="663"/>
                      </a:cubicBezTo>
                      <a:cubicBezTo>
                        <a:pt x="271" y="663"/>
                        <a:pt x="267" y="667"/>
                        <a:pt x="267" y="672"/>
                      </a:cubicBezTo>
                      <a:cubicBezTo>
                        <a:pt x="267" y="1023"/>
                        <a:pt x="267" y="1023"/>
                        <a:pt x="267" y="1023"/>
                      </a:cubicBezTo>
                      <a:cubicBezTo>
                        <a:pt x="267" y="1028"/>
                        <a:pt x="271" y="1033"/>
                        <a:pt x="275" y="1033"/>
                      </a:cubicBezTo>
                      <a:cubicBezTo>
                        <a:pt x="361" y="1033"/>
                        <a:pt x="361" y="1033"/>
                        <a:pt x="361" y="1033"/>
                      </a:cubicBezTo>
                      <a:cubicBezTo>
                        <a:pt x="365" y="1033"/>
                        <a:pt x="369" y="1028"/>
                        <a:pt x="369" y="1023"/>
                      </a:cubicBezTo>
                      <a:cubicBezTo>
                        <a:pt x="369" y="672"/>
                        <a:pt x="369" y="672"/>
                        <a:pt x="369" y="672"/>
                      </a:cubicBezTo>
                      <a:close/>
                      <a:moveTo>
                        <a:pt x="526" y="621"/>
                      </a:moveTo>
                      <a:cubicBezTo>
                        <a:pt x="526" y="615"/>
                        <a:pt x="522" y="610"/>
                        <a:pt x="518" y="610"/>
                      </a:cubicBezTo>
                      <a:cubicBezTo>
                        <a:pt x="432" y="610"/>
                        <a:pt x="432" y="610"/>
                        <a:pt x="432" y="610"/>
                      </a:cubicBezTo>
                      <a:cubicBezTo>
                        <a:pt x="428" y="610"/>
                        <a:pt x="424" y="615"/>
                        <a:pt x="424" y="621"/>
                      </a:cubicBezTo>
                      <a:cubicBezTo>
                        <a:pt x="424" y="1021"/>
                        <a:pt x="424" y="1021"/>
                        <a:pt x="424" y="1021"/>
                      </a:cubicBezTo>
                      <a:cubicBezTo>
                        <a:pt x="424" y="1027"/>
                        <a:pt x="428" y="1033"/>
                        <a:pt x="432" y="1033"/>
                      </a:cubicBezTo>
                      <a:cubicBezTo>
                        <a:pt x="518" y="1033"/>
                        <a:pt x="518" y="1033"/>
                        <a:pt x="518" y="1033"/>
                      </a:cubicBezTo>
                      <a:cubicBezTo>
                        <a:pt x="522" y="1033"/>
                        <a:pt x="526" y="1027"/>
                        <a:pt x="526" y="1021"/>
                      </a:cubicBezTo>
                      <a:cubicBezTo>
                        <a:pt x="526" y="621"/>
                        <a:pt x="526" y="621"/>
                        <a:pt x="526" y="621"/>
                      </a:cubicBezTo>
                      <a:close/>
                      <a:moveTo>
                        <a:pt x="463" y="373"/>
                      </a:moveTo>
                      <a:cubicBezTo>
                        <a:pt x="471" y="373"/>
                        <a:pt x="477" y="367"/>
                        <a:pt x="477" y="360"/>
                      </a:cubicBezTo>
                      <a:cubicBezTo>
                        <a:pt x="477" y="352"/>
                        <a:pt x="471" y="346"/>
                        <a:pt x="463" y="346"/>
                      </a:cubicBezTo>
                      <a:cubicBezTo>
                        <a:pt x="456" y="346"/>
                        <a:pt x="450" y="352"/>
                        <a:pt x="450" y="360"/>
                      </a:cubicBezTo>
                      <a:cubicBezTo>
                        <a:pt x="450" y="367"/>
                        <a:pt x="456" y="373"/>
                        <a:pt x="463" y="373"/>
                      </a:cubicBezTo>
                      <a:close/>
                      <a:moveTo>
                        <a:pt x="528" y="389"/>
                      </a:moveTo>
                      <a:cubicBezTo>
                        <a:pt x="528" y="381"/>
                        <a:pt x="522" y="375"/>
                        <a:pt x="515" y="375"/>
                      </a:cubicBezTo>
                      <a:cubicBezTo>
                        <a:pt x="507" y="375"/>
                        <a:pt x="501" y="381"/>
                        <a:pt x="501" y="389"/>
                      </a:cubicBezTo>
                      <a:cubicBezTo>
                        <a:pt x="501" y="396"/>
                        <a:pt x="507" y="402"/>
                        <a:pt x="515" y="402"/>
                      </a:cubicBezTo>
                      <a:cubicBezTo>
                        <a:pt x="522" y="402"/>
                        <a:pt x="528" y="396"/>
                        <a:pt x="528" y="389"/>
                      </a:cubicBezTo>
                      <a:close/>
                      <a:moveTo>
                        <a:pt x="550" y="203"/>
                      </a:moveTo>
                      <a:cubicBezTo>
                        <a:pt x="550" y="188"/>
                        <a:pt x="538" y="174"/>
                        <a:pt x="522" y="174"/>
                      </a:cubicBezTo>
                      <a:cubicBezTo>
                        <a:pt x="506" y="174"/>
                        <a:pt x="493" y="188"/>
                        <a:pt x="493" y="203"/>
                      </a:cubicBezTo>
                      <a:cubicBezTo>
                        <a:pt x="493" y="207"/>
                        <a:pt x="494" y="211"/>
                        <a:pt x="495" y="214"/>
                      </a:cubicBezTo>
                      <a:cubicBezTo>
                        <a:pt x="341" y="390"/>
                        <a:pt x="341" y="390"/>
                        <a:pt x="341" y="390"/>
                      </a:cubicBezTo>
                      <a:cubicBezTo>
                        <a:pt x="337" y="388"/>
                        <a:pt x="332" y="386"/>
                        <a:pt x="327" y="386"/>
                      </a:cubicBezTo>
                      <a:cubicBezTo>
                        <a:pt x="320" y="386"/>
                        <a:pt x="314" y="388"/>
                        <a:pt x="309" y="393"/>
                      </a:cubicBezTo>
                      <a:cubicBezTo>
                        <a:pt x="146" y="313"/>
                        <a:pt x="146" y="313"/>
                        <a:pt x="146" y="313"/>
                      </a:cubicBezTo>
                      <a:cubicBezTo>
                        <a:pt x="145" y="297"/>
                        <a:pt x="132" y="284"/>
                        <a:pt x="117" y="284"/>
                      </a:cubicBezTo>
                      <a:cubicBezTo>
                        <a:pt x="101" y="284"/>
                        <a:pt x="88" y="297"/>
                        <a:pt x="88" y="313"/>
                      </a:cubicBezTo>
                      <a:cubicBezTo>
                        <a:pt x="88" y="329"/>
                        <a:pt x="101" y="342"/>
                        <a:pt x="117" y="342"/>
                      </a:cubicBezTo>
                      <a:cubicBezTo>
                        <a:pt x="123" y="342"/>
                        <a:pt x="129" y="340"/>
                        <a:pt x="134" y="336"/>
                      </a:cubicBezTo>
                      <a:cubicBezTo>
                        <a:pt x="201" y="369"/>
                        <a:pt x="299" y="417"/>
                        <a:pt x="299" y="417"/>
                      </a:cubicBezTo>
                      <a:cubicBezTo>
                        <a:pt x="299" y="432"/>
                        <a:pt x="312" y="444"/>
                        <a:pt x="327" y="444"/>
                      </a:cubicBezTo>
                      <a:cubicBezTo>
                        <a:pt x="343" y="444"/>
                        <a:pt x="356" y="431"/>
                        <a:pt x="356" y="415"/>
                      </a:cubicBezTo>
                      <a:cubicBezTo>
                        <a:pt x="356" y="414"/>
                        <a:pt x="356" y="413"/>
                        <a:pt x="356" y="412"/>
                      </a:cubicBezTo>
                      <a:cubicBezTo>
                        <a:pt x="416" y="344"/>
                        <a:pt x="515" y="232"/>
                        <a:pt x="515" y="232"/>
                      </a:cubicBezTo>
                      <a:cubicBezTo>
                        <a:pt x="517" y="232"/>
                        <a:pt x="520" y="232"/>
                        <a:pt x="522" y="232"/>
                      </a:cubicBezTo>
                      <a:cubicBezTo>
                        <a:pt x="538" y="232"/>
                        <a:pt x="550" y="219"/>
                        <a:pt x="550" y="20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grpSp>
          <p:cxnSp>
            <p:nvCxnSpPr>
              <p:cNvPr id="64" name="Straight Connector 63"/>
              <p:cNvCxnSpPr/>
              <p:nvPr/>
            </p:nvCxnSpPr>
            <p:spPr>
              <a:xfrm>
                <a:off x="989280" y="5409051"/>
                <a:ext cx="329609" cy="414669"/>
              </a:xfrm>
              <a:prstGeom prst="line">
                <a:avLst/>
              </a:prstGeom>
              <a:ln w="1270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5" name="ee4pHeader2"/>
            <p:cNvSpPr txBox="1"/>
            <p:nvPr/>
          </p:nvSpPr>
          <p:spPr>
            <a:xfrm>
              <a:off x="460534" y="5931300"/>
              <a:ext cx="1416691" cy="430887"/>
            </a:xfrm>
            <a:prstGeom prst="rect">
              <a:avLst/>
            </a:prstGeom>
            <a:noFill/>
            <a:ln cap="rnd">
              <a:noFill/>
            </a:ln>
          </p:spPr>
          <p:txBody>
            <a:bodyPr vert="horz" wrap="square" lIns="0" tIns="0" rIns="0" bIns="0" rtlCol="0" anchor="t" anchorCtr="0">
              <a:spAutoFit/>
            </a:bodyPr>
            <a:lstStyle/>
            <a:p>
              <a:pPr marL="0" lvl="3" algn="ctr"/>
              <a:r>
                <a:rPr lang="en-AU" sz="1400" dirty="0" smtClean="0">
                  <a:solidFill>
                    <a:srgbClr val="575757"/>
                  </a:solidFill>
                  <a:latin typeface="+mj-lt"/>
                  <a:sym typeface="Proxima Nova Rg" panose="02000506030000020004" pitchFamily="2" charset="0"/>
                </a:rPr>
                <a:t>E-mail and push notifications</a:t>
              </a:r>
              <a:endParaRPr lang="en-AU" sz="1400" dirty="0">
                <a:solidFill>
                  <a:srgbClr val="575757"/>
                </a:solidFill>
                <a:latin typeface="+mj-lt"/>
                <a:sym typeface="Proxima Nova Rg" panose="02000506030000020004" pitchFamily="2" charset="0"/>
              </a:endParaRPr>
            </a:p>
          </p:txBody>
        </p:sp>
      </p:grpSp>
      <p:sp>
        <p:nvSpPr>
          <p:cNvPr id="66"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73" name="NavigationIcon"/>
          <p:cNvGrpSpPr>
            <a:grpSpLocks noChangeAspect="1"/>
          </p:cNvGrpSpPr>
          <p:nvPr/>
        </p:nvGrpSpPr>
        <p:grpSpPr>
          <a:xfrm>
            <a:off x="11644824" y="140635"/>
            <a:ext cx="457200" cy="350245"/>
            <a:chOff x="5377816" y="2865501"/>
            <a:chExt cx="1434846" cy="1099185"/>
          </a:xfrm>
        </p:grpSpPr>
        <p:sp>
          <p:nvSpPr>
            <p:cNvPr id="74" name="Freeform 40">
              <a:extLst>
                <a:ext uri="{FF2B5EF4-FFF2-40B4-BE49-F238E27FC236}">
                  <a16:creationId xmlns:a16="http://schemas.microsoft.com/office/drawing/2014/main" xmlns="" id="{D57879F5-9B1E-462F-9BDA-EED0EB7A4B61}"/>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75" name="Freeform 41">
              <a:extLst>
                <a:ext uri="{FF2B5EF4-FFF2-40B4-BE49-F238E27FC236}">
                  <a16:creationId xmlns:a16="http://schemas.microsoft.com/office/drawing/2014/main" xmlns="" id="{D6078FFA-8F8C-4A72-858A-E911AAC5F6EA}"/>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1"/>
    </p:custDataLst>
    <p:extLst>
      <p:ext uri="{BB962C8B-B14F-4D97-AF65-F5344CB8AC3E}">
        <p14:creationId xmlns:p14="http://schemas.microsoft.com/office/powerpoint/2010/main" val="793253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72" name="think-cell Slide" r:id="rId48" imgW="395" imgH="396" progId="TCLayout.ActiveDocument.1">
                  <p:embed/>
                </p:oleObj>
              </mc:Choice>
              <mc:Fallback>
                <p:oleObj name="think-cell Slide" r:id="rId48" imgW="395" imgH="396"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smtClean="0">
              <a:solidFill>
                <a:srgbClr val="FFFFFF"/>
              </a:solidFill>
              <a:latin typeface="Trebuchet MS" panose="020B0603020202020204" pitchFamily="34" charset="0"/>
              <a:sym typeface="Trebuchet MS" panose="020B0603020202020204" pitchFamily="34" charset="0"/>
            </a:endParaRPr>
          </a:p>
        </p:txBody>
      </p:sp>
      <p:sp>
        <p:nvSpPr>
          <p:cNvPr id="17" name="Freeform 16"/>
          <p:cNvSpPr/>
          <p:nvPr/>
        </p:nvSpPr>
        <p:spPr>
          <a:xfrm>
            <a:off x="6619875" y="2680035"/>
            <a:ext cx="3495209" cy="1220531"/>
          </a:xfrm>
          <a:custGeom>
            <a:avLst/>
            <a:gdLst>
              <a:gd name="connsiteX0" fmla="*/ 151044 w 1768863"/>
              <a:gd name="connsiteY0" fmla="*/ 105477 h 997872"/>
              <a:gd name="connsiteX1" fmla="*/ 165558 w 1768863"/>
              <a:gd name="connsiteY1" fmla="*/ 918277 h 997872"/>
              <a:gd name="connsiteX2" fmla="*/ 1181558 w 1768863"/>
              <a:gd name="connsiteY2" fmla="*/ 932791 h 997872"/>
              <a:gd name="connsiteX3" fmla="*/ 1312186 w 1768863"/>
              <a:gd name="connsiteY3" fmla="*/ 613477 h 997872"/>
              <a:gd name="connsiteX4" fmla="*/ 1660529 w 1768863"/>
              <a:gd name="connsiteY4" fmla="*/ 569934 h 997872"/>
              <a:gd name="connsiteX5" fmla="*/ 1631501 w 1768863"/>
              <a:gd name="connsiteY5" fmla="*/ 61934 h 997872"/>
              <a:gd name="connsiteX6" fmla="*/ 151044 w 1768863"/>
              <a:gd name="connsiteY6" fmla="*/ 105477 h 997872"/>
              <a:gd name="connsiteX0" fmla="*/ 301623 w 3899040"/>
              <a:gd name="connsiteY0" fmla="*/ 742673 h 1635068"/>
              <a:gd name="connsiteX1" fmla="*/ 316137 w 3899040"/>
              <a:gd name="connsiteY1" fmla="*/ 1555473 h 1635068"/>
              <a:gd name="connsiteX2" fmla="*/ 1332137 w 3899040"/>
              <a:gd name="connsiteY2" fmla="*/ 1569987 h 1635068"/>
              <a:gd name="connsiteX3" fmla="*/ 1462765 w 3899040"/>
              <a:gd name="connsiteY3" fmla="*/ 1250673 h 1635068"/>
              <a:gd name="connsiteX4" fmla="*/ 1811108 w 3899040"/>
              <a:gd name="connsiteY4" fmla="*/ 1207130 h 1635068"/>
              <a:gd name="connsiteX5" fmla="*/ 3878509 w 3899040"/>
              <a:gd name="connsiteY5" fmla="*/ 7755 h 1635068"/>
              <a:gd name="connsiteX6" fmla="*/ 301623 w 3899040"/>
              <a:gd name="connsiteY6" fmla="*/ 742673 h 1635068"/>
              <a:gd name="connsiteX0" fmla="*/ 460622 w 3658432"/>
              <a:gd name="connsiteY0" fmla="*/ 86676 h 2174861"/>
              <a:gd name="connsiteX1" fmla="*/ 84843 w 3658432"/>
              <a:gd name="connsiteY1" fmla="*/ 2014598 h 2174861"/>
              <a:gd name="connsiteX2" fmla="*/ 1100843 w 3658432"/>
              <a:gd name="connsiteY2" fmla="*/ 2029112 h 2174861"/>
              <a:gd name="connsiteX3" fmla="*/ 1231471 w 3658432"/>
              <a:gd name="connsiteY3" fmla="*/ 1709798 h 2174861"/>
              <a:gd name="connsiteX4" fmla="*/ 1579814 w 3658432"/>
              <a:gd name="connsiteY4" fmla="*/ 1666255 h 2174861"/>
              <a:gd name="connsiteX5" fmla="*/ 3647215 w 3658432"/>
              <a:gd name="connsiteY5" fmla="*/ 466880 h 2174861"/>
              <a:gd name="connsiteX6" fmla="*/ 460622 w 3658432"/>
              <a:gd name="connsiteY6" fmla="*/ 86676 h 2174861"/>
              <a:gd name="connsiteX0" fmla="*/ 460622 w 3658432"/>
              <a:gd name="connsiteY0" fmla="*/ 86676 h 2172940"/>
              <a:gd name="connsiteX1" fmla="*/ 84843 w 3658432"/>
              <a:gd name="connsiteY1" fmla="*/ 2014598 h 2172940"/>
              <a:gd name="connsiteX2" fmla="*/ 1100843 w 3658432"/>
              <a:gd name="connsiteY2" fmla="*/ 2029112 h 2172940"/>
              <a:gd name="connsiteX3" fmla="*/ 1264925 w 3658432"/>
              <a:gd name="connsiteY3" fmla="*/ 1754403 h 2172940"/>
              <a:gd name="connsiteX4" fmla="*/ 1579814 w 3658432"/>
              <a:gd name="connsiteY4" fmla="*/ 1666255 h 2172940"/>
              <a:gd name="connsiteX5" fmla="*/ 3647215 w 3658432"/>
              <a:gd name="connsiteY5" fmla="*/ 466880 h 2172940"/>
              <a:gd name="connsiteX6" fmla="*/ 460622 w 3658432"/>
              <a:gd name="connsiteY6" fmla="*/ 86676 h 2172940"/>
              <a:gd name="connsiteX0" fmla="*/ 460622 w 3658432"/>
              <a:gd name="connsiteY0" fmla="*/ 86676 h 2171967"/>
              <a:gd name="connsiteX1" fmla="*/ 84843 w 3658432"/>
              <a:gd name="connsiteY1" fmla="*/ 2014598 h 2171967"/>
              <a:gd name="connsiteX2" fmla="*/ 1100843 w 3658432"/>
              <a:gd name="connsiteY2" fmla="*/ 2029112 h 2171967"/>
              <a:gd name="connsiteX3" fmla="*/ 1242065 w 3658432"/>
              <a:gd name="connsiteY3" fmla="*/ 1777263 h 2171967"/>
              <a:gd name="connsiteX4" fmla="*/ 1579814 w 3658432"/>
              <a:gd name="connsiteY4" fmla="*/ 1666255 h 2171967"/>
              <a:gd name="connsiteX5" fmla="*/ 3647215 w 3658432"/>
              <a:gd name="connsiteY5" fmla="*/ 466880 h 2171967"/>
              <a:gd name="connsiteX6" fmla="*/ 460622 w 3658432"/>
              <a:gd name="connsiteY6" fmla="*/ 86676 h 2171967"/>
              <a:gd name="connsiteX0" fmla="*/ 452918 w 3650728"/>
              <a:gd name="connsiteY0" fmla="*/ 86676 h 2163626"/>
              <a:gd name="connsiteX1" fmla="*/ 77139 w 3650728"/>
              <a:gd name="connsiteY1" fmla="*/ 2014598 h 2163626"/>
              <a:gd name="connsiteX2" fmla="*/ 986459 w 3650728"/>
              <a:gd name="connsiteY2" fmla="*/ 2006252 h 2163626"/>
              <a:gd name="connsiteX3" fmla="*/ 1234361 w 3650728"/>
              <a:gd name="connsiteY3" fmla="*/ 1777263 h 2163626"/>
              <a:gd name="connsiteX4" fmla="*/ 1572110 w 3650728"/>
              <a:gd name="connsiteY4" fmla="*/ 1666255 h 2163626"/>
              <a:gd name="connsiteX5" fmla="*/ 3639511 w 3650728"/>
              <a:gd name="connsiteY5" fmla="*/ 466880 h 2163626"/>
              <a:gd name="connsiteX6" fmla="*/ 452918 w 3650728"/>
              <a:gd name="connsiteY6" fmla="*/ 86676 h 2163626"/>
              <a:gd name="connsiteX0" fmla="*/ 412255 w 3610065"/>
              <a:gd name="connsiteY0" fmla="*/ 79868 h 2086006"/>
              <a:gd name="connsiteX1" fmla="*/ 97436 w 3610065"/>
              <a:gd name="connsiteY1" fmla="*/ 1908730 h 2086006"/>
              <a:gd name="connsiteX2" fmla="*/ 945796 w 3610065"/>
              <a:gd name="connsiteY2" fmla="*/ 1999444 h 2086006"/>
              <a:gd name="connsiteX3" fmla="*/ 1193698 w 3610065"/>
              <a:gd name="connsiteY3" fmla="*/ 1770455 h 2086006"/>
              <a:gd name="connsiteX4" fmla="*/ 1531447 w 3610065"/>
              <a:gd name="connsiteY4" fmla="*/ 1659447 h 2086006"/>
              <a:gd name="connsiteX5" fmla="*/ 3598848 w 3610065"/>
              <a:gd name="connsiteY5" fmla="*/ 460072 h 2086006"/>
              <a:gd name="connsiteX6" fmla="*/ 412255 w 3610065"/>
              <a:gd name="connsiteY6" fmla="*/ 79868 h 2086006"/>
              <a:gd name="connsiteX0" fmla="*/ 480275 w 3678085"/>
              <a:gd name="connsiteY0" fmla="*/ 75703 h 2044251"/>
              <a:gd name="connsiteX1" fmla="*/ 66396 w 3678085"/>
              <a:gd name="connsiteY1" fmla="*/ 1843605 h 2044251"/>
              <a:gd name="connsiteX2" fmla="*/ 1013816 w 3678085"/>
              <a:gd name="connsiteY2" fmla="*/ 1995279 h 2044251"/>
              <a:gd name="connsiteX3" fmla="*/ 1261718 w 3678085"/>
              <a:gd name="connsiteY3" fmla="*/ 1766290 h 2044251"/>
              <a:gd name="connsiteX4" fmla="*/ 1599467 w 3678085"/>
              <a:gd name="connsiteY4" fmla="*/ 1655282 h 2044251"/>
              <a:gd name="connsiteX5" fmla="*/ 3666868 w 3678085"/>
              <a:gd name="connsiteY5" fmla="*/ 455907 h 2044251"/>
              <a:gd name="connsiteX6" fmla="*/ 480275 w 3678085"/>
              <a:gd name="connsiteY6" fmla="*/ 75703 h 2044251"/>
              <a:gd name="connsiteX0" fmla="*/ 480275 w 3666872"/>
              <a:gd name="connsiteY0" fmla="*/ 76641 h 2045189"/>
              <a:gd name="connsiteX1" fmla="*/ 66396 w 3666872"/>
              <a:gd name="connsiteY1" fmla="*/ 1844543 h 2045189"/>
              <a:gd name="connsiteX2" fmla="*/ 1013816 w 3666872"/>
              <a:gd name="connsiteY2" fmla="*/ 1996217 h 2045189"/>
              <a:gd name="connsiteX3" fmla="*/ 1261718 w 3666872"/>
              <a:gd name="connsiteY3" fmla="*/ 1767228 h 2045189"/>
              <a:gd name="connsiteX4" fmla="*/ 1599467 w 3666872"/>
              <a:gd name="connsiteY4" fmla="*/ 1656220 h 2045189"/>
              <a:gd name="connsiteX5" fmla="*/ 3666868 w 3666872"/>
              <a:gd name="connsiteY5" fmla="*/ 456845 h 2045189"/>
              <a:gd name="connsiteX6" fmla="*/ 480275 w 3666872"/>
              <a:gd name="connsiteY6" fmla="*/ 76641 h 2045189"/>
              <a:gd name="connsiteX0" fmla="*/ 476143 w 3563680"/>
              <a:gd name="connsiteY0" fmla="*/ 65083 h 2033631"/>
              <a:gd name="connsiteX1" fmla="*/ 62264 w 3563680"/>
              <a:gd name="connsiteY1" fmla="*/ 1832985 h 2033631"/>
              <a:gd name="connsiteX2" fmla="*/ 1009684 w 3563680"/>
              <a:gd name="connsiteY2" fmla="*/ 1984659 h 2033631"/>
              <a:gd name="connsiteX3" fmla="*/ 1257586 w 3563680"/>
              <a:gd name="connsiteY3" fmla="*/ 1755670 h 2033631"/>
              <a:gd name="connsiteX4" fmla="*/ 1595335 w 3563680"/>
              <a:gd name="connsiteY4" fmla="*/ 1644662 h 2033631"/>
              <a:gd name="connsiteX5" fmla="*/ 3563676 w 3563680"/>
              <a:gd name="connsiteY5" fmla="*/ 506247 h 2033631"/>
              <a:gd name="connsiteX6" fmla="*/ 476143 w 3563680"/>
              <a:gd name="connsiteY6" fmla="*/ 65083 h 2033631"/>
              <a:gd name="connsiteX0" fmla="*/ 476143 w 3706877"/>
              <a:gd name="connsiteY0" fmla="*/ 78724 h 2047272"/>
              <a:gd name="connsiteX1" fmla="*/ 62264 w 3706877"/>
              <a:gd name="connsiteY1" fmla="*/ 1846626 h 2047272"/>
              <a:gd name="connsiteX2" fmla="*/ 1009684 w 3706877"/>
              <a:gd name="connsiteY2" fmla="*/ 1998300 h 2047272"/>
              <a:gd name="connsiteX3" fmla="*/ 1257586 w 3706877"/>
              <a:gd name="connsiteY3" fmla="*/ 1769311 h 2047272"/>
              <a:gd name="connsiteX4" fmla="*/ 1595335 w 3706877"/>
              <a:gd name="connsiteY4" fmla="*/ 1658303 h 2047272"/>
              <a:gd name="connsiteX5" fmla="*/ 3563676 w 3706877"/>
              <a:gd name="connsiteY5" fmla="*/ 519888 h 2047272"/>
              <a:gd name="connsiteX6" fmla="*/ 3211501 w 3706877"/>
              <a:gd name="connsiteY6" fmla="*/ 329885 h 2047272"/>
              <a:gd name="connsiteX7" fmla="*/ 476143 w 3706877"/>
              <a:gd name="connsiteY7" fmla="*/ 78724 h 2047272"/>
              <a:gd name="connsiteX0" fmla="*/ 476143 w 3664918"/>
              <a:gd name="connsiteY0" fmla="*/ 78724 h 2047272"/>
              <a:gd name="connsiteX1" fmla="*/ 62264 w 3664918"/>
              <a:gd name="connsiteY1" fmla="*/ 1846626 h 2047272"/>
              <a:gd name="connsiteX2" fmla="*/ 1009684 w 3664918"/>
              <a:gd name="connsiteY2" fmla="*/ 1998300 h 2047272"/>
              <a:gd name="connsiteX3" fmla="*/ 1257586 w 3664918"/>
              <a:gd name="connsiteY3" fmla="*/ 1769311 h 2047272"/>
              <a:gd name="connsiteX4" fmla="*/ 1595335 w 3664918"/>
              <a:gd name="connsiteY4" fmla="*/ 1658303 h 2047272"/>
              <a:gd name="connsiteX5" fmla="*/ 3563676 w 3664918"/>
              <a:gd name="connsiteY5" fmla="*/ 519888 h 2047272"/>
              <a:gd name="connsiteX6" fmla="*/ 3211501 w 3664918"/>
              <a:gd name="connsiteY6" fmla="*/ 329885 h 2047272"/>
              <a:gd name="connsiteX7" fmla="*/ 476143 w 3664918"/>
              <a:gd name="connsiteY7" fmla="*/ 78724 h 2047272"/>
              <a:gd name="connsiteX0" fmla="*/ 476143 w 3568720"/>
              <a:gd name="connsiteY0" fmla="*/ 78724 h 2047272"/>
              <a:gd name="connsiteX1" fmla="*/ 62264 w 3568720"/>
              <a:gd name="connsiteY1" fmla="*/ 1846626 h 2047272"/>
              <a:gd name="connsiteX2" fmla="*/ 1009684 w 3568720"/>
              <a:gd name="connsiteY2" fmla="*/ 1998300 h 2047272"/>
              <a:gd name="connsiteX3" fmla="*/ 1257586 w 3568720"/>
              <a:gd name="connsiteY3" fmla="*/ 1769311 h 2047272"/>
              <a:gd name="connsiteX4" fmla="*/ 1595335 w 3568720"/>
              <a:gd name="connsiteY4" fmla="*/ 1658303 h 2047272"/>
              <a:gd name="connsiteX5" fmla="*/ 3563676 w 3568720"/>
              <a:gd name="connsiteY5" fmla="*/ 519888 h 2047272"/>
              <a:gd name="connsiteX6" fmla="*/ 3211501 w 3568720"/>
              <a:gd name="connsiteY6" fmla="*/ 329885 h 2047272"/>
              <a:gd name="connsiteX7" fmla="*/ 476143 w 3568720"/>
              <a:gd name="connsiteY7" fmla="*/ 78724 h 2047272"/>
              <a:gd name="connsiteX0" fmla="*/ 465905 w 3677437"/>
              <a:gd name="connsiteY0" fmla="*/ 143140 h 2111688"/>
              <a:gd name="connsiteX1" fmla="*/ 52026 w 3677437"/>
              <a:gd name="connsiteY1" fmla="*/ 1911042 h 2111688"/>
              <a:gd name="connsiteX2" fmla="*/ 999446 w 3677437"/>
              <a:gd name="connsiteY2" fmla="*/ 2062716 h 2111688"/>
              <a:gd name="connsiteX3" fmla="*/ 1247348 w 3677437"/>
              <a:gd name="connsiteY3" fmla="*/ 1833727 h 2111688"/>
              <a:gd name="connsiteX4" fmla="*/ 1585097 w 3677437"/>
              <a:gd name="connsiteY4" fmla="*/ 1722719 h 2111688"/>
              <a:gd name="connsiteX5" fmla="*/ 3553438 w 3677437"/>
              <a:gd name="connsiteY5" fmla="*/ 584304 h 2111688"/>
              <a:gd name="connsiteX6" fmla="*/ 3285083 w 3677437"/>
              <a:gd name="connsiteY6" fmla="*/ 158081 h 2111688"/>
              <a:gd name="connsiteX7" fmla="*/ 465905 w 3677437"/>
              <a:gd name="connsiteY7" fmla="*/ 143140 h 2111688"/>
              <a:gd name="connsiteX0" fmla="*/ 465905 w 3658700"/>
              <a:gd name="connsiteY0" fmla="*/ 143140 h 2111688"/>
              <a:gd name="connsiteX1" fmla="*/ 52026 w 3658700"/>
              <a:gd name="connsiteY1" fmla="*/ 1911042 h 2111688"/>
              <a:gd name="connsiteX2" fmla="*/ 999446 w 3658700"/>
              <a:gd name="connsiteY2" fmla="*/ 2062716 h 2111688"/>
              <a:gd name="connsiteX3" fmla="*/ 1247348 w 3658700"/>
              <a:gd name="connsiteY3" fmla="*/ 1833727 h 2111688"/>
              <a:gd name="connsiteX4" fmla="*/ 1585097 w 3658700"/>
              <a:gd name="connsiteY4" fmla="*/ 1722719 h 2111688"/>
              <a:gd name="connsiteX5" fmla="*/ 3553438 w 3658700"/>
              <a:gd name="connsiteY5" fmla="*/ 584304 h 2111688"/>
              <a:gd name="connsiteX6" fmla="*/ 3285083 w 3658700"/>
              <a:gd name="connsiteY6" fmla="*/ 158081 h 2111688"/>
              <a:gd name="connsiteX7" fmla="*/ 465905 w 3658700"/>
              <a:gd name="connsiteY7" fmla="*/ 143140 h 2111688"/>
              <a:gd name="connsiteX0" fmla="*/ 465905 w 3560593"/>
              <a:gd name="connsiteY0" fmla="*/ 143140 h 2111688"/>
              <a:gd name="connsiteX1" fmla="*/ 52026 w 3560593"/>
              <a:gd name="connsiteY1" fmla="*/ 1911042 h 2111688"/>
              <a:gd name="connsiteX2" fmla="*/ 999446 w 3560593"/>
              <a:gd name="connsiteY2" fmla="*/ 2062716 h 2111688"/>
              <a:gd name="connsiteX3" fmla="*/ 1247348 w 3560593"/>
              <a:gd name="connsiteY3" fmla="*/ 1833727 h 2111688"/>
              <a:gd name="connsiteX4" fmla="*/ 1585097 w 3560593"/>
              <a:gd name="connsiteY4" fmla="*/ 1722719 h 2111688"/>
              <a:gd name="connsiteX5" fmla="*/ 3553438 w 3560593"/>
              <a:gd name="connsiteY5" fmla="*/ 584304 h 2111688"/>
              <a:gd name="connsiteX6" fmla="*/ 3285083 w 3560593"/>
              <a:gd name="connsiteY6" fmla="*/ 158081 h 2111688"/>
              <a:gd name="connsiteX7" fmla="*/ 465905 w 3560593"/>
              <a:gd name="connsiteY7" fmla="*/ 143140 h 2111688"/>
              <a:gd name="connsiteX0" fmla="*/ 476142 w 3570830"/>
              <a:gd name="connsiteY0" fmla="*/ 64321 h 2032869"/>
              <a:gd name="connsiteX1" fmla="*/ 62263 w 3570830"/>
              <a:gd name="connsiteY1" fmla="*/ 1832223 h 2032869"/>
              <a:gd name="connsiteX2" fmla="*/ 1009683 w 3570830"/>
              <a:gd name="connsiteY2" fmla="*/ 1983897 h 2032869"/>
              <a:gd name="connsiteX3" fmla="*/ 1257585 w 3570830"/>
              <a:gd name="connsiteY3" fmla="*/ 1754908 h 2032869"/>
              <a:gd name="connsiteX4" fmla="*/ 1595334 w 3570830"/>
              <a:gd name="connsiteY4" fmla="*/ 1643900 h 2032869"/>
              <a:gd name="connsiteX5" fmla="*/ 3563675 w 3570830"/>
              <a:gd name="connsiteY5" fmla="*/ 505485 h 2032869"/>
              <a:gd name="connsiteX6" fmla="*/ 476142 w 3570830"/>
              <a:gd name="connsiteY6" fmla="*/ 64321 h 2032869"/>
              <a:gd name="connsiteX0" fmla="*/ 476142 w 3563679"/>
              <a:gd name="connsiteY0" fmla="*/ 78545 h 2047093"/>
              <a:gd name="connsiteX1" fmla="*/ 62263 w 3563679"/>
              <a:gd name="connsiteY1" fmla="*/ 1846447 h 2047093"/>
              <a:gd name="connsiteX2" fmla="*/ 1009683 w 3563679"/>
              <a:gd name="connsiteY2" fmla="*/ 1998121 h 2047093"/>
              <a:gd name="connsiteX3" fmla="*/ 1257585 w 3563679"/>
              <a:gd name="connsiteY3" fmla="*/ 1769132 h 2047093"/>
              <a:gd name="connsiteX4" fmla="*/ 1595334 w 3563679"/>
              <a:gd name="connsiteY4" fmla="*/ 1658124 h 2047093"/>
              <a:gd name="connsiteX5" fmla="*/ 3563675 w 3563679"/>
              <a:gd name="connsiteY5" fmla="*/ 519709 h 2047093"/>
              <a:gd name="connsiteX6" fmla="*/ 476142 w 3563679"/>
              <a:gd name="connsiteY6" fmla="*/ 78545 h 2047093"/>
              <a:gd name="connsiteX0" fmla="*/ 476142 w 3567466"/>
              <a:gd name="connsiteY0" fmla="*/ 78545 h 2047093"/>
              <a:gd name="connsiteX1" fmla="*/ 62263 w 3567466"/>
              <a:gd name="connsiteY1" fmla="*/ 1846447 h 2047093"/>
              <a:gd name="connsiteX2" fmla="*/ 1009683 w 3567466"/>
              <a:gd name="connsiteY2" fmla="*/ 1998121 h 2047093"/>
              <a:gd name="connsiteX3" fmla="*/ 1257585 w 3567466"/>
              <a:gd name="connsiteY3" fmla="*/ 1769132 h 2047093"/>
              <a:gd name="connsiteX4" fmla="*/ 1595334 w 3567466"/>
              <a:gd name="connsiteY4" fmla="*/ 1658124 h 2047093"/>
              <a:gd name="connsiteX5" fmla="*/ 3563675 w 3567466"/>
              <a:gd name="connsiteY5" fmla="*/ 519709 h 2047093"/>
              <a:gd name="connsiteX6" fmla="*/ 476142 w 3567466"/>
              <a:gd name="connsiteY6" fmla="*/ 78545 h 2047093"/>
              <a:gd name="connsiteX0" fmla="*/ 365139 w 3456463"/>
              <a:gd name="connsiteY0" fmla="*/ 40478 h 1975595"/>
              <a:gd name="connsiteX1" fmla="*/ 118528 w 3456463"/>
              <a:gd name="connsiteY1" fmla="*/ 1250819 h 1975595"/>
              <a:gd name="connsiteX2" fmla="*/ 898680 w 3456463"/>
              <a:gd name="connsiteY2" fmla="*/ 1960054 h 1975595"/>
              <a:gd name="connsiteX3" fmla="*/ 1146582 w 3456463"/>
              <a:gd name="connsiteY3" fmla="*/ 1731065 h 1975595"/>
              <a:gd name="connsiteX4" fmla="*/ 1484331 w 3456463"/>
              <a:gd name="connsiteY4" fmla="*/ 1620057 h 1975595"/>
              <a:gd name="connsiteX5" fmla="*/ 3452672 w 3456463"/>
              <a:gd name="connsiteY5" fmla="*/ 481642 h 1975595"/>
              <a:gd name="connsiteX6" fmla="*/ 365139 w 3456463"/>
              <a:gd name="connsiteY6" fmla="*/ 40478 h 1975595"/>
              <a:gd name="connsiteX0" fmla="*/ 365139 w 3456463"/>
              <a:gd name="connsiteY0" fmla="*/ 40478 h 1973546"/>
              <a:gd name="connsiteX1" fmla="*/ 118528 w 3456463"/>
              <a:gd name="connsiteY1" fmla="*/ 1250819 h 1973546"/>
              <a:gd name="connsiteX2" fmla="*/ 898680 w 3456463"/>
              <a:gd name="connsiteY2" fmla="*/ 1960054 h 1973546"/>
              <a:gd name="connsiteX3" fmla="*/ 1484331 w 3456463"/>
              <a:gd name="connsiteY3" fmla="*/ 1620057 h 1973546"/>
              <a:gd name="connsiteX4" fmla="*/ 3452672 w 3456463"/>
              <a:gd name="connsiteY4" fmla="*/ 481642 h 1973546"/>
              <a:gd name="connsiteX5" fmla="*/ 365139 w 3456463"/>
              <a:gd name="connsiteY5" fmla="*/ 40478 h 1973546"/>
              <a:gd name="connsiteX0" fmla="*/ 403630 w 3494954"/>
              <a:gd name="connsiteY0" fmla="*/ 40478 h 1656186"/>
              <a:gd name="connsiteX1" fmla="*/ 157019 w 3494954"/>
              <a:gd name="connsiteY1" fmla="*/ 1250819 h 1656186"/>
              <a:gd name="connsiteX2" fmla="*/ 1522822 w 3494954"/>
              <a:gd name="connsiteY2" fmla="*/ 1620057 h 1656186"/>
              <a:gd name="connsiteX3" fmla="*/ 3491163 w 3494954"/>
              <a:gd name="connsiteY3" fmla="*/ 481642 h 1656186"/>
              <a:gd name="connsiteX4" fmla="*/ 403630 w 3494954"/>
              <a:gd name="connsiteY4" fmla="*/ 40478 h 1656186"/>
              <a:gd name="connsiteX0" fmla="*/ 457457 w 3551045"/>
              <a:gd name="connsiteY0" fmla="*/ 40478 h 1492390"/>
              <a:gd name="connsiteX1" fmla="*/ 210846 w 3551045"/>
              <a:gd name="connsiteY1" fmla="*/ 1250819 h 1492390"/>
              <a:gd name="connsiteX2" fmla="*/ 2357235 w 3551045"/>
              <a:gd name="connsiteY2" fmla="*/ 1430486 h 1492390"/>
              <a:gd name="connsiteX3" fmla="*/ 3544990 w 3551045"/>
              <a:gd name="connsiteY3" fmla="*/ 481642 h 1492390"/>
              <a:gd name="connsiteX4" fmla="*/ 457457 w 3551045"/>
              <a:gd name="connsiteY4" fmla="*/ 40478 h 1492390"/>
              <a:gd name="connsiteX0" fmla="*/ 457457 w 3554552"/>
              <a:gd name="connsiteY0" fmla="*/ 40478 h 1476276"/>
              <a:gd name="connsiteX1" fmla="*/ 210846 w 3554552"/>
              <a:gd name="connsiteY1" fmla="*/ 1250819 h 1476276"/>
              <a:gd name="connsiteX2" fmla="*/ 2357235 w 3554552"/>
              <a:gd name="connsiteY2" fmla="*/ 1430486 h 1476276"/>
              <a:gd name="connsiteX3" fmla="*/ 3544990 w 3554552"/>
              <a:gd name="connsiteY3" fmla="*/ 481642 h 1476276"/>
              <a:gd name="connsiteX4" fmla="*/ 457457 w 3554552"/>
              <a:gd name="connsiteY4" fmla="*/ 40478 h 1476276"/>
              <a:gd name="connsiteX0" fmla="*/ 461374 w 3559148"/>
              <a:gd name="connsiteY0" fmla="*/ 40478 h 1419901"/>
              <a:gd name="connsiteX1" fmla="*/ 214763 w 3559148"/>
              <a:gd name="connsiteY1" fmla="*/ 1250819 h 1419901"/>
              <a:gd name="connsiteX2" fmla="*/ 2416908 w 3559148"/>
              <a:gd name="connsiteY2" fmla="*/ 1352428 h 1419901"/>
              <a:gd name="connsiteX3" fmla="*/ 3548907 w 3559148"/>
              <a:gd name="connsiteY3" fmla="*/ 481642 h 1419901"/>
              <a:gd name="connsiteX4" fmla="*/ 461374 w 3559148"/>
              <a:gd name="connsiteY4" fmla="*/ 40478 h 1419901"/>
              <a:gd name="connsiteX0" fmla="*/ 461374 w 3595072"/>
              <a:gd name="connsiteY0" fmla="*/ 65758 h 1445181"/>
              <a:gd name="connsiteX1" fmla="*/ 214763 w 3595072"/>
              <a:gd name="connsiteY1" fmla="*/ 1276099 h 1445181"/>
              <a:gd name="connsiteX2" fmla="*/ 2416908 w 3595072"/>
              <a:gd name="connsiteY2" fmla="*/ 1377708 h 1445181"/>
              <a:gd name="connsiteX3" fmla="*/ 3548907 w 3595072"/>
              <a:gd name="connsiteY3" fmla="*/ 506922 h 1445181"/>
              <a:gd name="connsiteX4" fmla="*/ 461374 w 3595072"/>
              <a:gd name="connsiteY4" fmla="*/ 65758 h 1445181"/>
              <a:gd name="connsiteX0" fmla="*/ 411579 w 3545228"/>
              <a:gd name="connsiteY0" fmla="*/ 68228 h 1478970"/>
              <a:gd name="connsiteX1" fmla="*/ 243027 w 3545228"/>
              <a:gd name="connsiteY1" fmla="*/ 1312022 h 1478970"/>
              <a:gd name="connsiteX2" fmla="*/ 2367113 w 3545228"/>
              <a:gd name="connsiteY2" fmla="*/ 1380178 h 1478970"/>
              <a:gd name="connsiteX3" fmla="*/ 3499112 w 3545228"/>
              <a:gd name="connsiteY3" fmla="*/ 509392 h 1478970"/>
              <a:gd name="connsiteX4" fmla="*/ 411579 w 3545228"/>
              <a:gd name="connsiteY4" fmla="*/ 68228 h 1478970"/>
              <a:gd name="connsiteX0" fmla="*/ 353992 w 3486960"/>
              <a:gd name="connsiteY0" fmla="*/ 58351 h 1417257"/>
              <a:gd name="connsiteX1" fmla="*/ 285801 w 3486960"/>
              <a:gd name="connsiteY1" fmla="*/ 1168330 h 1417257"/>
              <a:gd name="connsiteX2" fmla="*/ 2309526 w 3486960"/>
              <a:gd name="connsiteY2" fmla="*/ 1370301 h 1417257"/>
              <a:gd name="connsiteX3" fmla="*/ 3441525 w 3486960"/>
              <a:gd name="connsiteY3" fmla="*/ 499515 h 1417257"/>
              <a:gd name="connsiteX4" fmla="*/ 353992 w 3486960"/>
              <a:gd name="connsiteY4" fmla="*/ 58351 h 1417257"/>
              <a:gd name="connsiteX0" fmla="*/ 314291 w 3446742"/>
              <a:gd name="connsiteY0" fmla="*/ 52592 h 1394251"/>
              <a:gd name="connsiteX1" fmla="*/ 324158 w 3446742"/>
              <a:gd name="connsiteY1" fmla="*/ 1084512 h 1394251"/>
              <a:gd name="connsiteX2" fmla="*/ 2269825 w 3446742"/>
              <a:gd name="connsiteY2" fmla="*/ 1364542 h 1394251"/>
              <a:gd name="connsiteX3" fmla="*/ 3401824 w 3446742"/>
              <a:gd name="connsiteY3" fmla="*/ 493756 h 1394251"/>
              <a:gd name="connsiteX4" fmla="*/ 314291 w 3446742"/>
              <a:gd name="connsiteY4" fmla="*/ 52592 h 1394251"/>
              <a:gd name="connsiteX0" fmla="*/ 313082 w 3465112"/>
              <a:gd name="connsiteY0" fmla="*/ 17310 h 1236379"/>
              <a:gd name="connsiteX1" fmla="*/ 322949 w 3465112"/>
              <a:gd name="connsiteY1" fmla="*/ 1049230 h 1236379"/>
              <a:gd name="connsiteX2" fmla="*/ 2246314 w 3465112"/>
              <a:gd name="connsiteY2" fmla="*/ 1184294 h 1236379"/>
              <a:gd name="connsiteX3" fmla="*/ 3400615 w 3465112"/>
              <a:gd name="connsiteY3" fmla="*/ 458474 h 1236379"/>
              <a:gd name="connsiteX4" fmla="*/ 313082 w 3465112"/>
              <a:gd name="connsiteY4" fmla="*/ 17310 h 1236379"/>
              <a:gd name="connsiteX0" fmla="*/ 313082 w 3448560"/>
              <a:gd name="connsiteY0" fmla="*/ 44306 h 1263375"/>
              <a:gd name="connsiteX1" fmla="*/ 322949 w 3448560"/>
              <a:gd name="connsiteY1" fmla="*/ 1076226 h 1263375"/>
              <a:gd name="connsiteX2" fmla="*/ 2246314 w 3448560"/>
              <a:gd name="connsiteY2" fmla="*/ 1211290 h 1263375"/>
              <a:gd name="connsiteX3" fmla="*/ 3400615 w 3448560"/>
              <a:gd name="connsiteY3" fmla="*/ 485470 h 1263375"/>
              <a:gd name="connsiteX4" fmla="*/ 313082 w 3448560"/>
              <a:gd name="connsiteY4" fmla="*/ 44306 h 1263375"/>
              <a:gd name="connsiteX0" fmla="*/ 429502 w 3310458"/>
              <a:gd name="connsiteY0" fmla="*/ 24449 h 1087278"/>
              <a:gd name="connsiteX1" fmla="*/ 181185 w 3310458"/>
              <a:gd name="connsiteY1" fmla="*/ 905762 h 1087278"/>
              <a:gd name="connsiteX2" fmla="*/ 2104550 w 3310458"/>
              <a:gd name="connsiteY2" fmla="*/ 1040826 h 1087278"/>
              <a:gd name="connsiteX3" fmla="*/ 3258851 w 3310458"/>
              <a:gd name="connsiteY3" fmla="*/ 315006 h 1087278"/>
              <a:gd name="connsiteX4" fmla="*/ 429502 w 3310458"/>
              <a:gd name="connsiteY4" fmla="*/ 24449 h 1087278"/>
              <a:gd name="connsiteX0" fmla="*/ 341785 w 3414676"/>
              <a:gd name="connsiteY0" fmla="*/ 21326 h 1139872"/>
              <a:gd name="connsiteX1" fmla="*/ 276348 w 3414676"/>
              <a:gd name="connsiteY1" fmla="*/ 956428 h 1139872"/>
              <a:gd name="connsiteX2" fmla="*/ 2199713 w 3414676"/>
              <a:gd name="connsiteY2" fmla="*/ 1091492 h 1139872"/>
              <a:gd name="connsiteX3" fmla="*/ 3354014 w 3414676"/>
              <a:gd name="connsiteY3" fmla="*/ 365672 h 1139872"/>
              <a:gd name="connsiteX4" fmla="*/ 341785 w 3414676"/>
              <a:gd name="connsiteY4" fmla="*/ 21326 h 1139872"/>
              <a:gd name="connsiteX0" fmla="*/ 337596 w 3349332"/>
              <a:gd name="connsiteY0" fmla="*/ 101985 h 1220531"/>
              <a:gd name="connsiteX1" fmla="*/ 272159 w 3349332"/>
              <a:gd name="connsiteY1" fmla="*/ 1037087 h 1220531"/>
              <a:gd name="connsiteX2" fmla="*/ 2195524 w 3349332"/>
              <a:gd name="connsiteY2" fmla="*/ 1172151 h 1220531"/>
              <a:gd name="connsiteX3" fmla="*/ 3285279 w 3349332"/>
              <a:gd name="connsiteY3" fmla="*/ 145117 h 1220531"/>
              <a:gd name="connsiteX4" fmla="*/ 337596 w 3349332"/>
              <a:gd name="connsiteY4" fmla="*/ 101985 h 122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9332" h="1220531">
                <a:moveTo>
                  <a:pt x="337596" y="101985"/>
                </a:moveTo>
                <a:cubicBezTo>
                  <a:pt x="-164591" y="250647"/>
                  <a:pt x="-37496" y="858726"/>
                  <a:pt x="272159" y="1037087"/>
                </a:cubicBezTo>
                <a:cubicBezTo>
                  <a:pt x="581814" y="1215448"/>
                  <a:pt x="1682580" y="1270610"/>
                  <a:pt x="2195524" y="1172151"/>
                </a:cubicBezTo>
                <a:cubicBezTo>
                  <a:pt x="2708468" y="1073692"/>
                  <a:pt x="3594934" y="323478"/>
                  <a:pt x="3285279" y="145117"/>
                </a:cubicBezTo>
                <a:cubicBezTo>
                  <a:pt x="2975624" y="-33244"/>
                  <a:pt x="839783" y="-46677"/>
                  <a:pt x="337596" y="101985"/>
                </a:cubicBezTo>
                <a:close/>
              </a:path>
            </a:pathLst>
          </a:custGeom>
          <a:solidFill>
            <a:srgbClr val="C9E7CA"/>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30" name="Freeform 29"/>
          <p:cNvSpPr/>
          <p:nvPr/>
        </p:nvSpPr>
        <p:spPr>
          <a:xfrm>
            <a:off x="5385263" y="4028009"/>
            <a:ext cx="3822844" cy="839103"/>
          </a:xfrm>
          <a:custGeom>
            <a:avLst/>
            <a:gdLst>
              <a:gd name="connsiteX0" fmla="*/ 3602756 w 3872949"/>
              <a:gd name="connsiteY0" fmla="*/ 390695 h 955471"/>
              <a:gd name="connsiteX1" fmla="*/ 3871697 w 3872949"/>
              <a:gd name="connsiteY1" fmla="*/ 619295 h 955471"/>
              <a:gd name="connsiteX2" fmla="*/ 3656544 w 3872949"/>
              <a:gd name="connsiteY2" fmla="*/ 713424 h 955471"/>
              <a:gd name="connsiteX3" fmla="*/ 2742144 w 3872949"/>
              <a:gd name="connsiteY3" fmla="*/ 753766 h 955471"/>
              <a:gd name="connsiteX4" fmla="*/ 2540438 w 3872949"/>
              <a:gd name="connsiteY4" fmla="*/ 928577 h 955471"/>
              <a:gd name="connsiteX5" fmla="*/ 402356 w 3872949"/>
              <a:gd name="connsiteY5" fmla="*/ 888236 h 955471"/>
              <a:gd name="connsiteX6" fmla="*/ 133415 w 3872949"/>
              <a:gd name="connsiteY6" fmla="*/ 310013 h 955471"/>
              <a:gd name="connsiteX7" fmla="*/ 1935321 w 3872949"/>
              <a:gd name="connsiteY7" fmla="*/ 730 h 955471"/>
              <a:gd name="connsiteX8" fmla="*/ 2701803 w 3872949"/>
              <a:gd name="connsiteY8" fmla="*/ 390695 h 955471"/>
              <a:gd name="connsiteX9" fmla="*/ 3602756 w 3872949"/>
              <a:gd name="connsiteY9" fmla="*/ 390695 h 955471"/>
              <a:gd name="connsiteX0" fmla="*/ 3602756 w 3874285"/>
              <a:gd name="connsiteY0" fmla="*/ 390695 h 958024"/>
              <a:gd name="connsiteX1" fmla="*/ 3871697 w 3874285"/>
              <a:gd name="connsiteY1" fmla="*/ 619295 h 958024"/>
              <a:gd name="connsiteX2" fmla="*/ 3656544 w 3874285"/>
              <a:gd name="connsiteY2" fmla="*/ 713424 h 958024"/>
              <a:gd name="connsiteX3" fmla="*/ 2540438 w 3874285"/>
              <a:gd name="connsiteY3" fmla="*/ 928577 h 958024"/>
              <a:gd name="connsiteX4" fmla="*/ 402356 w 3874285"/>
              <a:gd name="connsiteY4" fmla="*/ 888236 h 958024"/>
              <a:gd name="connsiteX5" fmla="*/ 133415 w 3874285"/>
              <a:gd name="connsiteY5" fmla="*/ 310013 h 958024"/>
              <a:gd name="connsiteX6" fmla="*/ 1935321 w 3874285"/>
              <a:gd name="connsiteY6" fmla="*/ 730 h 958024"/>
              <a:gd name="connsiteX7" fmla="*/ 2701803 w 3874285"/>
              <a:gd name="connsiteY7" fmla="*/ 390695 h 958024"/>
              <a:gd name="connsiteX8" fmla="*/ 3602756 w 3874285"/>
              <a:gd name="connsiteY8" fmla="*/ 390695 h 958024"/>
              <a:gd name="connsiteX0" fmla="*/ 3602756 w 3896310"/>
              <a:gd name="connsiteY0" fmla="*/ 390695 h 947755"/>
              <a:gd name="connsiteX1" fmla="*/ 3871697 w 3896310"/>
              <a:gd name="connsiteY1" fmla="*/ 619295 h 947755"/>
              <a:gd name="connsiteX2" fmla="*/ 3733295 w 3896310"/>
              <a:gd name="connsiteY2" fmla="*/ 883532 h 947755"/>
              <a:gd name="connsiteX3" fmla="*/ 2540438 w 3896310"/>
              <a:gd name="connsiteY3" fmla="*/ 928577 h 947755"/>
              <a:gd name="connsiteX4" fmla="*/ 402356 w 3896310"/>
              <a:gd name="connsiteY4" fmla="*/ 888236 h 947755"/>
              <a:gd name="connsiteX5" fmla="*/ 133415 w 3896310"/>
              <a:gd name="connsiteY5" fmla="*/ 310013 h 947755"/>
              <a:gd name="connsiteX6" fmla="*/ 1935321 w 3896310"/>
              <a:gd name="connsiteY6" fmla="*/ 730 h 947755"/>
              <a:gd name="connsiteX7" fmla="*/ 2701803 w 3896310"/>
              <a:gd name="connsiteY7" fmla="*/ 390695 h 947755"/>
              <a:gd name="connsiteX8" fmla="*/ 3602756 w 3896310"/>
              <a:gd name="connsiteY8" fmla="*/ 390695 h 94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6310" h="947755">
                <a:moveTo>
                  <a:pt x="3602756" y="390695"/>
                </a:moveTo>
                <a:cubicBezTo>
                  <a:pt x="3797738" y="428795"/>
                  <a:pt x="3849941" y="537156"/>
                  <a:pt x="3871697" y="619295"/>
                </a:cubicBezTo>
                <a:cubicBezTo>
                  <a:pt x="3893454" y="701435"/>
                  <a:pt x="3955172" y="831985"/>
                  <a:pt x="3733295" y="883532"/>
                </a:cubicBezTo>
                <a:cubicBezTo>
                  <a:pt x="3511419" y="935079"/>
                  <a:pt x="3095594" y="927793"/>
                  <a:pt x="2540438" y="928577"/>
                </a:cubicBezTo>
                <a:cubicBezTo>
                  <a:pt x="1985282" y="929361"/>
                  <a:pt x="803526" y="991330"/>
                  <a:pt x="402356" y="888236"/>
                </a:cubicBezTo>
                <a:cubicBezTo>
                  <a:pt x="1186" y="785142"/>
                  <a:pt x="-122079" y="457931"/>
                  <a:pt x="133415" y="310013"/>
                </a:cubicBezTo>
                <a:cubicBezTo>
                  <a:pt x="388909" y="162095"/>
                  <a:pt x="1507256" y="-12717"/>
                  <a:pt x="1935321" y="730"/>
                </a:cubicBezTo>
                <a:cubicBezTo>
                  <a:pt x="2363386" y="14177"/>
                  <a:pt x="2421656" y="327942"/>
                  <a:pt x="2701803" y="390695"/>
                </a:cubicBezTo>
                <a:cubicBezTo>
                  <a:pt x="2981950" y="453448"/>
                  <a:pt x="3407774" y="352595"/>
                  <a:pt x="3602756" y="390695"/>
                </a:cubicBezTo>
                <a:close/>
              </a:path>
            </a:pathLst>
          </a:custGeom>
          <a:solidFill>
            <a:srgbClr val="EEE89A"/>
          </a:solidFill>
          <a:ln w="95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cxnSp>
        <p:nvCxnSpPr>
          <p:cNvPr id="25" name="Straight Connector 24"/>
          <p:cNvCxnSpPr/>
          <p:nvPr/>
        </p:nvCxnSpPr>
        <p:spPr>
          <a:xfrm flipV="1">
            <a:off x="4775429" y="2103120"/>
            <a:ext cx="0" cy="3118285"/>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6357765" y="2103120"/>
            <a:ext cx="0" cy="3118285"/>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30000" y="622800"/>
            <a:ext cx="10933200" cy="941796"/>
          </a:xfrm>
        </p:spPr>
        <p:txBody>
          <a:bodyPr/>
          <a:lstStyle/>
          <a:p>
            <a:r>
              <a:rPr lang="en-US" dirty="0"/>
              <a:t>T</a:t>
            </a:r>
            <a:r>
              <a:rPr lang="en-US" dirty="0" smtClean="0"/>
              <a:t>hree use cases with high potential were selected based on execution feasibility and impact</a:t>
            </a:r>
            <a:endParaRPr lang="en-US" dirty="0"/>
          </a:p>
        </p:txBody>
      </p:sp>
      <p:graphicFrame>
        <p:nvGraphicFramePr>
          <p:cNvPr id="7" name="Object 6"/>
          <p:cNvGraphicFramePr>
            <a:graphicFrameLocks/>
          </p:cNvGraphicFramePr>
          <p:nvPr>
            <p:custDataLst>
              <p:tags r:id="rId5"/>
            </p:custDataLst>
            <p:extLst/>
          </p:nvPr>
        </p:nvGraphicFramePr>
        <p:xfrm>
          <a:off x="2133600" y="2057400"/>
          <a:ext cx="7300049" cy="3406298"/>
        </p:xfrm>
        <a:graphic>
          <a:graphicData uri="http://schemas.openxmlformats.org/presentationml/2006/ole">
            <mc:AlternateContent xmlns:mc="http://schemas.openxmlformats.org/markup-compatibility/2006">
              <mc:Choice xmlns:v="urn:schemas-microsoft-com:vml" Requires="v">
                <p:oleObj spid="_x0000_s90173" name="Chart" r:id="rId50" imgW="7302344" imgH="3403646" progId="MSGraph.Chart.8">
                  <p:embed followColorScheme="full"/>
                </p:oleObj>
              </mc:Choice>
              <mc:Fallback>
                <p:oleObj name="Chart" r:id="rId50" imgW="7302344" imgH="3403646" progId="MSGraph.Chart.8">
                  <p:embed followColorScheme="full"/>
                  <p:pic>
                    <p:nvPicPr>
                      <p:cNvPr id="0" name=""/>
                      <p:cNvPicPr/>
                      <p:nvPr/>
                    </p:nvPicPr>
                    <p:blipFill>
                      <a:blip r:embed="rId51"/>
                      <a:stretch>
                        <a:fillRect/>
                      </a:stretch>
                    </p:blipFill>
                    <p:spPr>
                      <a:xfrm>
                        <a:off x="2133600" y="2057400"/>
                        <a:ext cx="7300049" cy="3406298"/>
                      </a:xfrm>
                      <a:prstGeom prst="rect">
                        <a:avLst/>
                      </a:prstGeom>
                    </p:spPr>
                  </p:pic>
                </p:oleObj>
              </mc:Fallback>
            </mc:AlternateContent>
          </a:graphicData>
        </a:graphic>
      </p:graphicFrame>
      <p:cxnSp>
        <p:nvCxnSpPr>
          <p:cNvPr id="79" name="Straight Connector 78"/>
          <p:cNvCxnSpPr/>
          <p:nvPr>
            <p:custDataLst>
              <p:tags r:id="rId6"/>
            </p:custDataLst>
          </p:nvPr>
        </p:nvCxnSpPr>
        <p:spPr bwMode="gray">
          <a:xfrm flipH="1">
            <a:off x="2619375" y="5133975"/>
            <a:ext cx="39688" cy="9525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custDataLst>
              <p:tags r:id="rId7"/>
            </p:custDataLst>
          </p:nvPr>
        </p:nvCxnSpPr>
        <p:spPr bwMode="gray">
          <a:xfrm>
            <a:off x="2913063" y="4602163"/>
            <a:ext cx="246063" cy="62547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8"/>
            </p:custDataLst>
          </p:nvPr>
        </p:nvCxnSpPr>
        <p:spPr bwMode="gray">
          <a:xfrm>
            <a:off x="7486650" y="5168900"/>
            <a:ext cx="93663" cy="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9"/>
            </p:custDataLst>
          </p:nvPr>
        </p:nvCxnSpPr>
        <p:spPr bwMode="gray">
          <a:xfrm flipH="1">
            <a:off x="3751263" y="5103813"/>
            <a:ext cx="60325" cy="1285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custDataLst>
              <p:tags r:id="rId10"/>
            </p:custDataLst>
          </p:nvPr>
        </p:nvCxnSpPr>
        <p:spPr bwMode="gray">
          <a:xfrm flipV="1">
            <a:off x="7508875" y="4883150"/>
            <a:ext cx="71438" cy="15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1"/>
            </p:custDataLst>
          </p:nvPr>
        </p:nvCxnSpPr>
        <p:spPr bwMode="gray">
          <a:xfrm>
            <a:off x="6737350" y="4506913"/>
            <a:ext cx="3175" cy="33337"/>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2"/>
            </p:custDataLst>
          </p:nvPr>
        </p:nvCxnSpPr>
        <p:spPr bwMode="gray">
          <a:xfrm>
            <a:off x="4924425" y="4389438"/>
            <a:ext cx="160338" cy="3905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3"/>
            </p:custDataLst>
          </p:nvPr>
        </p:nvCxnSpPr>
        <p:spPr bwMode="gray">
          <a:xfrm>
            <a:off x="3509963" y="3775075"/>
            <a:ext cx="227013" cy="1666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4"/>
            </p:custDataLst>
          </p:nvPr>
        </p:nvCxnSpPr>
        <p:spPr bwMode="gray">
          <a:xfrm>
            <a:off x="8921750" y="5203825"/>
            <a:ext cx="17463" cy="3175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custDataLst>
              <p:tags r:id="rId15"/>
            </p:custDataLst>
          </p:nvPr>
        </p:nvCxnSpPr>
        <p:spPr bwMode="gray">
          <a:xfrm flipH="1">
            <a:off x="3989388" y="5292725"/>
            <a:ext cx="195263" cy="396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6"/>
            </p:custDataLst>
          </p:nvPr>
        </p:nvCxnSpPr>
        <p:spPr bwMode="gray">
          <a:xfrm flipH="1">
            <a:off x="3295650" y="4595813"/>
            <a:ext cx="487363" cy="65087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7"/>
            </p:custDataLst>
          </p:nvPr>
        </p:nvCxnSpPr>
        <p:spPr bwMode="gray">
          <a:xfrm flipH="1">
            <a:off x="8502650" y="3005138"/>
            <a:ext cx="36513" cy="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8"/>
            </p:custDataLst>
          </p:nvPr>
        </p:nvCxnSpPr>
        <p:spPr bwMode="gray">
          <a:xfrm flipH="1">
            <a:off x="7170738" y="4441825"/>
            <a:ext cx="128588" cy="1365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3"/>
          <p:cNvSpPr>
            <a:spLocks noGrp="1"/>
          </p:cNvSpPr>
          <p:nvPr>
            <p:custDataLst>
              <p:tags r:id="rId19"/>
            </p:custDataLst>
          </p:nvPr>
        </p:nvSpPr>
        <p:spPr bwMode="gray">
          <a:xfrm>
            <a:off x="6418263" y="4806950"/>
            <a:ext cx="10906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Menu </a:t>
            </a:r>
            <a:r>
              <a:rPr lang="en-US" altLang="en-US" dirty="0" smtClean="0">
                <a:sym typeface="+mn-lt"/>
              </a:rPr>
              <a:t>challenge</a:t>
            </a:r>
            <a:endParaRPr lang="en-US" dirty="0">
              <a:sym typeface="+mn-lt"/>
            </a:endParaRPr>
          </a:p>
        </p:txBody>
      </p:sp>
      <p:sp>
        <p:nvSpPr>
          <p:cNvPr id="51" name="Text Placeholder 3"/>
          <p:cNvSpPr>
            <a:spLocks noGrp="1"/>
          </p:cNvSpPr>
          <p:nvPr>
            <p:custDataLst>
              <p:tags r:id="rId20"/>
            </p:custDataLst>
          </p:nvPr>
        </p:nvSpPr>
        <p:spPr bwMode="gray">
          <a:xfrm>
            <a:off x="8243888" y="5021263"/>
            <a:ext cx="12557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sym typeface="+mn-lt"/>
              </a:rPr>
              <a:t>Curated </a:t>
            </a:r>
            <a:r>
              <a:rPr lang="es-MX" dirty="0" smtClean="0">
                <a:sym typeface="+mn-lt"/>
              </a:rPr>
              <a:t>messages</a:t>
            </a:r>
            <a:endParaRPr lang="en-US" dirty="0">
              <a:sym typeface="+mn-lt"/>
            </a:endParaRPr>
          </a:p>
        </p:txBody>
      </p:sp>
      <p:sp>
        <p:nvSpPr>
          <p:cNvPr id="38" name="Text Placeholder 3"/>
          <p:cNvSpPr>
            <a:spLocks noGrp="1"/>
          </p:cNvSpPr>
          <p:nvPr>
            <p:custDataLst>
              <p:tags r:id="rId21"/>
            </p:custDataLst>
          </p:nvPr>
        </p:nvSpPr>
        <p:spPr bwMode="gray">
          <a:xfrm>
            <a:off x="6345238" y="5076825"/>
            <a:ext cx="11414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Spend challenge</a:t>
            </a:r>
            <a:endParaRPr lang="en-US" altLang="en-US" dirty="0" smtClean="0">
              <a:sym typeface="+mn-lt"/>
            </a:endParaRPr>
          </a:p>
        </p:txBody>
      </p:sp>
      <p:sp useBgFill="1">
        <p:nvSpPr>
          <p:cNvPr id="50" name="Text Placeholder 3"/>
          <p:cNvSpPr>
            <a:spLocks noGrp="1"/>
          </p:cNvSpPr>
          <p:nvPr>
            <p:custDataLst>
              <p:tags r:id="rId22"/>
            </p:custDataLst>
          </p:nvPr>
        </p:nvSpPr>
        <p:spPr bwMode="gray">
          <a:xfrm>
            <a:off x="3357563" y="4921250"/>
            <a:ext cx="993775" cy="182563"/>
          </a:xfrm>
          <a:prstGeom prst="rect">
            <a:avLst/>
          </a:prstGeom>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Cinépolis </a:t>
            </a:r>
            <a:r>
              <a:rPr lang="es-MX" dirty="0" smtClean="0">
                <a:sym typeface="+mn-lt"/>
              </a:rPr>
              <a:t>acq.</a:t>
            </a:r>
            <a:endParaRPr lang="en-US" dirty="0">
              <a:sym typeface="+mn-lt"/>
            </a:endParaRPr>
          </a:p>
        </p:txBody>
      </p:sp>
      <p:sp>
        <p:nvSpPr>
          <p:cNvPr id="74" name="Text Placeholder 3"/>
          <p:cNvSpPr>
            <a:spLocks noGrp="1"/>
          </p:cNvSpPr>
          <p:nvPr>
            <p:custDataLst>
              <p:tags r:id="rId23"/>
            </p:custDataLst>
          </p:nvPr>
        </p:nvSpPr>
        <p:spPr bwMode="gray">
          <a:xfrm>
            <a:off x="8539164" y="2822575"/>
            <a:ext cx="1154113" cy="3651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Optimized flash </a:t>
            </a:r>
          </a:p>
          <a:p>
            <a:pPr>
              <a:lnSpc>
                <a:spcPct val="100000"/>
              </a:lnSpc>
              <a:spcBef>
                <a:spcPct val="0"/>
              </a:spcBef>
              <a:spcAft>
                <a:spcPct val="0"/>
              </a:spcAft>
            </a:pPr>
            <a:r>
              <a:rPr lang="en-US" altLang="en-US" dirty="0" smtClean="0"/>
              <a:t>offers</a:t>
            </a:r>
            <a:endParaRPr lang="en-US" dirty="0">
              <a:sym typeface="+mn-lt"/>
            </a:endParaRPr>
          </a:p>
        </p:txBody>
      </p:sp>
      <p:sp>
        <p:nvSpPr>
          <p:cNvPr id="39" name="Text Placeholder 3"/>
          <p:cNvSpPr>
            <a:spLocks noGrp="1"/>
          </p:cNvSpPr>
          <p:nvPr>
            <p:custDataLst>
              <p:tags r:id="rId24"/>
            </p:custDataLst>
          </p:nvPr>
        </p:nvSpPr>
        <p:spPr bwMode="gray">
          <a:xfrm>
            <a:off x="5449888" y="4316413"/>
            <a:ext cx="649288" cy="182563"/>
          </a:xfrm>
          <a:prstGeom prst="rect">
            <a:avLst/>
          </a:prstGeom>
          <a:noFill/>
          <a:extLst>
            <a:ext uri="{909E8E84-426E-40DD-AFC4-6F175D3DCCD1}">
              <a14:hiddenFill xmlns:a14="http://schemas.microsoft.com/office/drawing/2010/main">
                <a:solidFill>
                  <a:srgbClr val="E71C57"/>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TCC acq.</a:t>
            </a:r>
            <a:endParaRPr lang="en-US" dirty="0">
              <a:sym typeface="+mn-lt"/>
            </a:endParaRPr>
          </a:p>
        </p:txBody>
      </p:sp>
      <p:sp>
        <p:nvSpPr>
          <p:cNvPr id="37" name="Text Placeholder 3"/>
          <p:cNvSpPr>
            <a:spLocks noGrp="1"/>
          </p:cNvSpPr>
          <p:nvPr>
            <p:custDataLst>
              <p:tags r:id="rId25"/>
            </p:custDataLst>
          </p:nvPr>
        </p:nvSpPr>
        <p:spPr bwMode="gray">
          <a:xfrm>
            <a:off x="7667625" y="3489325"/>
            <a:ext cx="750888" cy="3651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Frequency</a:t>
            </a:r>
          </a:p>
          <a:p>
            <a:pPr>
              <a:lnSpc>
                <a:spcPct val="100000"/>
              </a:lnSpc>
              <a:spcBef>
                <a:spcPct val="0"/>
              </a:spcBef>
              <a:spcAft>
                <a:spcPct val="0"/>
              </a:spcAft>
            </a:pPr>
            <a:r>
              <a:rPr lang="es-MX" dirty="0" smtClean="0">
                <a:sym typeface="+mn-lt"/>
              </a:rPr>
              <a:t>challenges</a:t>
            </a:r>
            <a:endParaRPr lang="en-US" dirty="0">
              <a:sym typeface="+mn-lt"/>
            </a:endParaRPr>
          </a:p>
        </p:txBody>
      </p:sp>
      <p:sp>
        <p:nvSpPr>
          <p:cNvPr id="56" name="Text Placeholder 3"/>
          <p:cNvSpPr>
            <a:spLocks noGrp="1"/>
          </p:cNvSpPr>
          <p:nvPr>
            <p:custDataLst>
              <p:tags r:id="rId26"/>
            </p:custDataLst>
          </p:nvPr>
        </p:nvSpPr>
        <p:spPr bwMode="gray">
          <a:xfrm>
            <a:off x="7878763" y="4591050"/>
            <a:ext cx="1165225" cy="182563"/>
          </a:xfrm>
          <a:prstGeom prst="rect">
            <a:avLst/>
          </a:prstGeom>
          <a:noFill/>
          <a:extLst>
            <a:ext uri="{909E8E84-426E-40DD-AFC4-6F175D3DCCD1}">
              <a14:hiddenFill xmlns:a14="http://schemas.microsoft.com/office/drawing/2010/main">
                <a:solidFill>
                  <a:srgbClr val="9A9A9A"/>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131E5F1-BD21-49ED-94E8-0F280775A963}" type="datetime'Se''''''rvi''ce'''''''' ''r''e''c''''''ov''e''''''''r''''y'''">
              <a:rPr lang="en-US" altLang="en-US" smtClean="0"/>
              <a:pPr/>
              <a:t>Service recovery</a:t>
            </a:fld>
            <a:endParaRPr lang="en-US" dirty="0">
              <a:sym typeface="+mn-lt"/>
            </a:endParaRPr>
          </a:p>
        </p:txBody>
      </p:sp>
      <p:sp>
        <p:nvSpPr>
          <p:cNvPr id="58" name="Text Placeholder 3"/>
          <p:cNvSpPr>
            <a:spLocks noGrp="1"/>
          </p:cNvSpPr>
          <p:nvPr>
            <p:custDataLst>
              <p:tags r:id="rId27"/>
            </p:custDataLst>
          </p:nvPr>
        </p:nvSpPr>
        <p:spPr bwMode="gray">
          <a:xfrm>
            <a:off x="7140575" y="4076700"/>
            <a:ext cx="661988" cy="3651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84E96DD-5D3C-4BF0-8126-F3D48C090525}" type="datetime'La''''ps''e''d''&#10;m''em''b''''e''''r''''s'''''''''''''''''''">
              <a:rPr lang="en-US" altLang="en-US"/>
              <a:pPr/>
              <a:t>Lapsed
members</a:t>
            </a:fld>
            <a:endParaRPr lang="en-US" dirty="0">
              <a:sym typeface="+mn-lt"/>
            </a:endParaRPr>
          </a:p>
        </p:txBody>
      </p:sp>
      <p:sp>
        <p:nvSpPr>
          <p:cNvPr id="68" name="Text Placeholder 3"/>
          <p:cNvSpPr>
            <a:spLocks noGrp="1"/>
          </p:cNvSpPr>
          <p:nvPr>
            <p:custDataLst>
              <p:tags r:id="rId28"/>
            </p:custDataLst>
          </p:nvPr>
        </p:nvSpPr>
        <p:spPr bwMode="gray">
          <a:xfrm>
            <a:off x="6353175" y="4141788"/>
            <a:ext cx="731838" cy="3651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sym typeface="+mn-lt"/>
              </a:rPr>
              <a:t>High risk</a:t>
            </a:r>
          </a:p>
          <a:p>
            <a:pPr>
              <a:lnSpc>
                <a:spcPct val="100000"/>
              </a:lnSpc>
              <a:spcBef>
                <a:spcPct val="0"/>
              </a:spcBef>
              <a:spcAft>
                <a:spcPct val="0"/>
              </a:spcAft>
            </a:pPr>
            <a:r>
              <a:rPr lang="es-MX" dirty="0" smtClean="0">
                <a:sym typeface="+mn-lt"/>
              </a:rPr>
              <a:t>customers</a:t>
            </a:r>
            <a:endParaRPr lang="en-US" dirty="0">
              <a:sym typeface="+mn-lt"/>
            </a:endParaRPr>
          </a:p>
        </p:txBody>
      </p:sp>
      <p:sp>
        <p:nvSpPr>
          <p:cNvPr id="67" name="Text Placeholder 3"/>
          <p:cNvSpPr>
            <a:spLocks noGrp="1"/>
          </p:cNvSpPr>
          <p:nvPr>
            <p:custDataLst>
              <p:tags r:id="rId29"/>
            </p:custDataLst>
          </p:nvPr>
        </p:nvSpPr>
        <p:spPr bwMode="gray">
          <a:xfrm>
            <a:off x="4329113" y="4024313"/>
            <a:ext cx="1039813" cy="3651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sym typeface="+mn-lt"/>
              </a:rPr>
              <a:t>Abandoned</a:t>
            </a:r>
          </a:p>
          <a:p>
            <a:pPr>
              <a:lnSpc>
                <a:spcPct val="100000"/>
              </a:lnSpc>
              <a:spcBef>
                <a:spcPct val="0"/>
              </a:spcBef>
              <a:spcAft>
                <a:spcPct val="0"/>
              </a:spcAft>
            </a:pPr>
            <a:r>
              <a:rPr lang="es-MX" dirty="0" smtClean="0">
                <a:sym typeface="+mn-lt"/>
              </a:rPr>
              <a:t>cart reminders</a:t>
            </a:r>
            <a:endParaRPr lang="en-US" dirty="0">
              <a:sym typeface="+mn-lt"/>
            </a:endParaRPr>
          </a:p>
        </p:txBody>
      </p:sp>
      <p:sp>
        <p:nvSpPr>
          <p:cNvPr id="35" name="Text Placeholder 3"/>
          <p:cNvSpPr>
            <a:spLocks noGrp="1"/>
          </p:cNvSpPr>
          <p:nvPr>
            <p:custDataLst>
              <p:tags r:id="rId30"/>
            </p:custDataLst>
          </p:nvPr>
        </p:nvSpPr>
        <p:spPr bwMode="gray">
          <a:xfrm>
            <a:off x="6770688" y="2908300"/>
            <a:ext cx="814388" cy="54768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Format / </a:t>
            </a:r>
          </a:p>
          <a:p>
            <a:pPr>
              <a:lnSpc>
                <a:spcPct val="100000"/>
              </a:lnSpc>
              <a:spcBef>
                <a:spcPct val="0"/>
              </a:spcBef>
              <a:spcAft>
                <a:spcPct val="0"/>
              </a:spcAft>
            </a:pPr>
            <a:r>
              <a:rPr lang="en-US" altLang="en-US" dirty="0" smtClean="0"/>
              <a:t>menu </a:t>
            </a:r>
          </a:p>
          <a:p>
            <a:pPr>
              <a:lnSpc>
                <a:spcPct val="100000"/>
              </a:lnSpc>
              <a:spcBef>
                <a:spcPct val="0"/>
              </a:spcBef>
              <a:spcAft>
                <a:spcPct val="0"/>
              </a:spcAft>
            </a:pPr>
            <a:r>
              <a:rPr lang="en-US" altLang="en-US" dirty="0" smtClean="0"/>
              <a:t>exploration</a:t>
            </a:r>
            <a:endParaRPr lang="en-US" dirty="0">
              <a:sym typeface="+mn-lt"/>
            </a:endParaRPr>
          </a:p>
        </p:txBody>
      </p:sp>
      <p:sp useBgFill="1">
        <p:nvSpPr>
          <p:cNvPr id="60" name="Text Placeholder 3"/>
          <p:cNvSpPr>
            <a:spLocks noGrp="1"/>
          </p:cNvSpPr>
          <p:nvPr>
            <p:custDataLst>
              <p:tags r:id="rId31"/>
            </p:custDataLst>
          </p:nvPr>
        </p:nvSpPr>
        <p:spPr bwMode="gray">
          <a:xfrm>
            <a:off x="2308225" y="4768850"/>
            <a:ext cx="857250" cy="365125"/>
          </a:xfrm>
          <a:prstGeom prst="rect">
            <a:avLst/>
          </a:prstGeom>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t>Partnership </a:t>
            </a:r>
          </a:p>
          <a:p>
            <a:pPr>
              <a:lnSpc>
                <a:spcPct val="100000"/>
              </a:lnSpc>
              <a:spcBef>
                <a:spcPct val="0"/>
              </a:spcBef>
              <a:spcAft>
                <a:spcPct val="0"/>
              </a:spcAft>
            </a:pPr>
            <a:r>
              <a:rPr lang="en-US" altLang="en-US" dirty="0" smtClean="0"/>
              <a:t>offers</a:t>
            </a:r>
            <a:endParaRPr lang="en-US" dirty="0">
              <a:sym typeface="+mn-lt"/>
            </a:endParaRPr>
          </a:p>
        </p:txBody>
      </p:sp>
      <p:sp>
        <p:nvSpPr>
          <p:cNvPr id="66" name="Text Placeholder 3"/>
          <p:cNvSpPr>
            <a:spLocks noGrp="1"/>
          </p:cNvSpPr>
          <p:nvPr>
            <p:custDataLst>
              <p:tags r:id="rId32"/>
            </p:custDataLst>
          </p:nvPr>
        </p:nvSpPr>
        <p:spPr bwMode="gray">
          <a:xfrm>
            <a:off x="4016375" y="5110163"/>
            <a:ext cx="1257300"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72DB904-9892-4724-9AF9-54B481691714}" type="datetime'''''''Ac''t''''i''v''''ity ''''''c''''''ha''llen''''ge'">
              <a:rPr lang="en-US" altLang="en-US" smtClean="0"/>
              <a:pPr/>
              <a:t>Activity challenge</a:t>
            </a:fld>
            <a:endParaRPr lang="en-US" dirty="0">
              <a:sym typeface="+mn-lt"/>
            </a:endParaRPr>
          </a:p>
        </p:txBody>
      </p:sp>
      <p:sp>
        <p:nvSpPr>
          <p:cNvPr id="65" name="Text Placeholder 3"/>
          <p:cNvSpPr>
            <a:spLocks noGrp="1"/>
          </p:cNvSpPr>
          <p:nvPr>
            <p:custDataLst>
              <p:tags r:id="rId33"/>
            </p:custDataLst>
          </p:nvPr>
        </p:nvSpPr>
        <p:spPr bwMode="gray">
          <a:xfrm>
            <a:off x="2809875" y="3409950"/>
            <a:ext cx="9032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sym typeface="+mn-lt"/>
              </a:rPr>
              <a:t>Geolocation </a:t>
            </a:r>
          </a:p>
          <a:p>
            <a:pPr>
              <a:lnSpc>
                <a:spcPct val="100000"/>
              </a:lnSpc>
              <a:spcBef>
                <a:spcPct val="0"/>
              </a:spcBef>
              <a:spcAft>
                <a:spcPct val="0"/>
              </a:spcAft>
            </a:pPr>
            <a:r>
              <a:rPr lang="en-US" altLang="en-US" dirty="0" smtClean="0">
                <a:sym typeface="+mn-lt"/>
              </a:rPr>
              <a:t>promotions</a:t>
            </a:r>
            <a:endParaRPr lang="en-US" dirty="0">
              <a:sym typeface="+mn-lt"/>
            </a:endParaRPr>
          </a:p>
        </p:txBody>
      </p:sp>
      <p:sp>
        <p:nvSpPr>
          <p:cNvPr id="63" name="Text Placeholder 3"/>
          <p:cNvSpPr>
            <a:spLocks noGrp="1"/>
          </p:cNvSpPr>
          <p:nvPr>
            <p:custDataLst>
              <p:tags r:id="rId34"/>
            </p:custDataLst>
          </p:nvPr>
        </p:nvSpPr>
        <p:spPr bwMode="gray">
          <a:xfrm>
            <a:off x="2322513" y="4237038"/>
            <a:ext cx="1038225" cy="3651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sym typeface="+mn-lt"/>
              </a:rPr>
              <a:t>Social network</a:t>
            </a:r>
          </a:p>
          <a:p>
            <a:pPr>
              <a:lnSpc>
                <a:spcPct val="100000"/>
              </a:lnSpc>
              <a:spcBef>
                <a:spcPct val="0"/>
              </a:spcBef>
              <a:spcAft>
                <a:spcPct val="0"/>
              </a:spcAft>
            </a:pPr>
            <a:r>
              <a:rPr lang="es-MX" dirty="0" smtClean="0">
                <a:sym typeface="+mn-lt"/>
              </a:rPr>
              <a:t>interactions</a:t>
            </a:r>
            <a:endParaRPr lang="en-US" dirty="0">
              <a:sym typeface="+mn-lt"/>
            </a:endParaRPr>
          </a:p>
        </p:txBody>
      </p:sp>
      <p:sp>
        <p:nvSpPr>
          <p:cNvPr id="64" name="Text Placeholder 3"/>
          <p:cNvSpPr>
            <a:spLocks noGrp="1"/>
          </p:cNvSpPr>
          <p:nvPr>
            <p:custDataLst>
              <p:tags r:id="rId35"/>
            </p:custDataLst>
          </p:nvPr>
        </p:nvSpPr>
        <p:spPr bwMode="gray">
          <a:xfrm>
            <a:off x="3284538" y="4413250"/>
            <a:ext cx="113506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dirty="0" smtClean="0">
                <a:sym typeface="+mn-lt"/>
              </a:rPr>
              <a:t>Rating feedback</a:t>
            </a:r>
            <a:endParaRPr lang="en-US" dirty="0">
              <a:sym typeface="+mn-lt"/>
            </a:endParaRPr>
          </a:p>
        </p:txBody>
      </p:sp>
      <p:sp>
        <p:nvSpPr>
          <p:cNvPr id="89" name="TextBox 88"/>
          <p:cNvSpPr txBox="1"/>
          <p:nvPr/>
        </p:nvSpPr>
        <p:spPr>
          <a:xfrm>
            <a:off x="2155825" y="5368560"/>
            <a:ext cx="914400" cy="304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lang="en-US" sz="1400" dirty="0" smtClean="0">
                <a:solidFill>
                  <a:srgbClr val="575757"/>
                </a:solidFill>
              </a:rPr>
              <a:t>Slower</a:t>
            </a:r>
          </a:p>
          <a:p>
            <a:pPr algn="ctr"/>
            <a:r>
              <a:rPr lang="en-US" sz="1400" dirty="0" smtClean="0">
                <a:solidFill>
                  <a:srgbClr val="575757"/>
                </a:solidFill>
              </a:rPr>
              <a:t>(&gt;12mos)</a:t>
            </a:r>
          </a:p>
        </p:txBody>
      </p:sp>
      <p:sp>
        <p:nvSpPr>
          <p:cNvPr id="90" name="TextBox 89"/>
          <p:cNvSpPr txBox="1"/>
          <p:nvPr/>
        </p:nvSpPr>
        <p:spPr>
          <a:xfrm>
            <a:off x="1219401" y="4917171"/>
            <a:ext cx="914400" cy="304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r"/>
            <a:r>
              <a:rPr lang="en-US" sz="1400" dirty="0" smtClean="0">
                <a:solidFill>
                  <a:srgbClr val="575757"/>
                </a:solidFill>
              </a:rPr>
              <a:t>Lower</a:t>
            </a:r>
          </a:p>
        </p:txBody>
      </p:sp>
      <p:sp>
        <p:nvSpPr>
          <p:cNvPr id="91" name="TextBox 90"/>
          <p:cNvSpPr txBox="1"/>
          <p:nvPr/>
        </p:nvSpPr>
        <p:spPr>
          <a:xfrm>
            <a:off x="1219401" y="2093568"/>
            <a:ext cx="914400" cy="304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r"/>
            <a:r>
              <a:rPr lang="en-US" sz="1400" dirty="0" smtClean="0">
                <a:solidFill>
                  <a:srgbClr val="575757"/>
                </a:solidFill>
              </a:rPr>
              <a:t>Higher</a:t>
            </a:r>
          </a:p>
        </p:txBody>
      </p:sp>
      <p:grpSp>
        <p:nvGrpSpPr>
          <p:cNvPr id="24" name="Group 23"/>
          <p:cNvGrpSpPr/>
          <p:nvPr/>
        </p:nvGrpSpPr>
        <p:grpSpPr>
          <a:xfrm>
            <a:off x="377102" y="3172887"/>
            <a:ext cx="1756699" cy="911363"/>
            <a:chOff x="467283" y="2836659"/>
            <a:chExt cx="1756699" cy="911363"/>
          </a:xfrm>
        </p:grpSpPr>
        <p:sp>
          <p:nvSpPr>
            <p:cNvPr id="92" name="TextBox 91"/>
            <p:cNvSpPr txBox="1"/>
            <p:nvPr/>
          </p:nvSpPr>
          <p:spPr>
            <a:xfrm>
              <a:off x="467283" y="3174582"/>
              <a:ext cx="1756699" cy="5734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lvl="1" algn="r">
                <a:buClr>
                  <a:schemeClr val="tx2">
                    <a:lumMod val="100000"/>
                  </a:schemeClr>
                </a:buClr>
                <a:buSzPct val="100000"/>
              </a:pPr>
              <a:r>
                <a:rPr lang="en-US" sz="1400" dirty="0" smtClean="0">
                  <a:solidFill>
                    <a:schemeClr val="tx1">
                      <a:lumMod val="100000"/>
                    </a:schemeClr>
                  </a:solidFill>
                  <a:latin typeface="Trebuchet MS" panose="020B0603020202020204" pitchFamily="34" charset="0"/>
                </a:rPr>
                <a:t>Incremental margin p.a.</a:t>
              </a:r>
              <a:r>
                <a:rPr lang="en-US" sz="1400" baseline="30000" dirty="0" smtClean="0">
                  <a:solidFill>
                    <a:schemeClr val="tx1">
                      <a:lumMod val="100000"/>
                    </a:schemeClr>
                  </a:solidFill>
                  <a:latin typeface="Trebuchet MS" panose="020B0603020202020204" pitchFamily="34" charset="0"/>
                </a:rPr>
                <a:t>1</a:t>
              </a:r>
              <a:endParaRPr lang="en-US" sz="1400" dirty="0" smtClean="0">
                <a:solidFill>
                  <a:schemeClr val="tx1">
                    <a:lumMod val="100000"/>
                  </a:schemeClr>
                </a:solidFill>
                <a:latin typeface="Trebuchet MS" panose="020B0603020202020204" pitchFamily="34" charset="0"/>
              </a:endParaRPr>
            </a:p>
          </p:txBody>
        </p:sp>
        <p:sp>
          <p:nvSpPr>
            <p:cNvPr id="4" name="Rectangle 3"/>
            <p:cNvSpPr/>
            <p:nvPr/>
          </p:nvSpPr>
          <p:spPr>
            <a:xfrm>
              <a:off x="467283" y="2836659"/>
              <a:ext cx="1756699" cy="369332"/>
            </a:xfrm>
            <a:prstGeom prst="rect">
              <a:avLst/>
            </a:prstGeom>
          </p:spPr>
          <p:txBody>
            <a:bodyPr wrap="none">
              <a:spAutoFit/>
            </a:bodyPr>
            <a:lstStyle/>
            <a:p>
              <a:pPr algn="r">
                <a:buSzPct val="100000"/>
                <a:buFont typeface="Trebuchet MS" panose="020B0603020202020204" pitchFamily="34" charset="0"/>
                <a:buChar char="​"/>
              </a:pPr>
              <a:r>
                <a:rPr lang="en-US" dirty="0">
                  <a:solidFill>
                    <a:srgbClr val="29BA74"/>
                  </a:solidFill>
                  <a:latin typeface="Trebuchet MS" panose="020B0603020202020204" pitchFamily="34" charset="0"/>
                </a:rPr>
                <a:t>Value potential</a:t>
              </a:r>
            </a:p>
          </p:txBody>
        </p:sp>
      </p:grpSp>
      <p:grpSp>
        <p:nvGrpSpPr>
          <p:cNvPr id="12" name="Group 11"/>
          <p:cNvGrpSpPr/>
          <p:nvPr/>
        </p:nvGrpSpPr>
        <p:grpSpPr>
          <a:xfrm>
            <a:off x="3868160" y="5430324"/>
            <a:ext cx="3960380" cy="839011"/>
            <a:chOff x="2236199" y="5511730"/>
            <a:chExt cx="3960380" cy="1011291"/>
          </a:xfrm>
        </p:grpSpPr>
        <p:sp>
          <p:nvSpPr>
            <p:cNvPr id="11" name="TextBox 10"/>
            <p:cNvSpPr txBox="1"/>
            <p:nvPr/>
          </p:nvSpPr>
          <p:spPr>
            <a:xfrm>
              <a:off x="2929803" y="5720199"/>
              <a:ext cx="2573172" cy="8028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buSzPct val="100000"/>
                <a:buFont typeface="Trebuchet MS" panose="020B0603020202020204" pitchFamily="34" charset="0"/>
                <a:buChar char="​"/>
              </a:pPr>
              <a:r>
                <a:rPr lang="en-US" sz="1600" dirty="0" smtClean="0">
                  <a:solidFill>
                    <a:schemeClr val="tx1">
                      <a:lumMod val="100000"/>
                    </a:schemeClr>
                  </a:solidFill>
                  <a:latin typeface="Trebuchet MS" panose="020B0603020202020204" pitchFamily="34" charset="0"/>
                </a:rPr>
                <a:t>Data, tech and analytics capabilities required</a:t>
              </a:r>
            </a:p>
          </p:txBody>
        </p:sp>
        <p:sp>
          <p:nvSpPr>
            <p:cNvPr id="32" name="Rectangle 31"/>
            <p:cNvSpPr/>
            <p:nvPr/>
          </p:nvSpPr>
          <p:spPr>
            <a:xfrm>
              <a:off x="2236199" y="5511730"/>
              <a:ext cx="3960380" cy="445170"/>
            </a:xfrm>
            <a:prstGeom prst="rect">
              <a:avLst/>
            </a:prstGeom>
          </p:spPr>
          <p:txBody>
            <a:bodyPr wrap="none">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MVP implementation time to market</a:t>
              </a:r>
              <a:endParaRPr lang="en-US" dirty="0">
                <a:solidFill>
                  <a:srgbClr val="29BA74"/>
                </a:solidFill>
                <a:latin typeface="Trebuchet MS" panose="020B0603020202020204" pitchFamily="34" charset="0"/>
              </a:endParaRPr>
            </a:p>
          </p:txBody>
        </p:sp>
      </p:grpSp>
      <p:sp>
        <p:nvSpPr>
          <p:cNvPr id="20" name="Oval 19"/>
          <p:cNvSpPr/>
          <p:nvPr>
            <p:custDataLst>
              <p:tags r:id="rId36"/>
            </p:custDataLst>
          </p:nvPr>
        </p:nvSpPr>
        <p:spPr bwMode="gray">
          <a:xfrm>
            <a:off x="9872663" y="4237038"/>
            <a:ext cx="187325" cy="187325"/>
          </a:xfrm>
          <a:prstGeom prst="ellipse">
            <a:avLst/>
          </a:prstGeom>
          <a:solidFill>
            <a:srgbClr val="29BA74"/>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19" name="Oval 18"/>
          <p:cNvSpPr/>
          <p:nvPr>
            <p:custDataLst>
              <p:tags r:id="rId37"/>
            </p:custDataLst>
          </p:nvPr>
        </p:nvSpPr>
        <p:spPr bwMode="gray">
          <a:xfrm>
            <a:off x="9872663" y="5027613"/>
            <a:ext cx="187325" cy="187325"/>
          </a:xfrm>
          <a:prstGeom prst="ellipse">
            <a:avLst/>
          </a:prstGeom>
          <a:solidFill>
            <a:srgbClr val="E71C57"/>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8" name="Oval 7"/>
          <p:cNvSpPr/>
          <p:nvPr>
            <p:custDataLst>
              <p:tags r:id="rId38"/>
            </p:custDataLst>
          </p:nvPr>
        </p:nvSpPr>
        <p:spPr bwMode="gray">
          <a:xfrm>
            <a:off x="9872663" y="4764088"/>
            <a:ext cx="187325" cy="187325"/>
          </a:xfrm>
          <a:prstGeom prst="ellipse">
            <a:avLst/>
          </a:prstGeom>
          <a:solidFill>
            <a:srgbClr val="741E9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21" name="Oval 20"/>
          <p:cNvSpPr/>
          <p:nvPr>
            <p:custDataLst>
              <p:tags r:id="rId39"/>
            </p:custDataLst>
          </p:nvPr>
        </p:nvSpPr>
        <p:spPr bwMode="gray">
          <a:xfrm>
            <a:off x="9872663" y="4500563"/>
            <a:ext cx="187325" cy="187325"/>
          </a:xfrm>
          <a:prstGeom prst="ellipse">
            <a:avLst/>
          </a:prstGeom>
          <a:solidFill>
            <a:srgbClr val="30C1D7"/>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5" name="Oval 4"/>
          <p:cNvSpPr/>
          <p:nvPr>
            <p:custDataLst>
              <p:tags r:id="rId40"/>
            </p:custDataLst>
          </p:nvPr>
        </p:nvSpPr>
        <p:spPr bwMode="gray">
          <a:xfrm>
            <a:off x="9872663" y="3973513"/>
            <a:ext cx="187325" cy="187325"/>
          </a:xfrm>
          <a:prstGeom prst="ellipse">
            <a:avLst/>
          </a:prstGeom>
          <a:solidFill>
            <a:srgbClr val="197A56"/>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47" name="Text Placeholder 3"/>
          <p:cNvSpPr>
            <a:spLocks noGrp="1"/>
          </p:cNvSpPr>
          <p:nvPr>
            <p:custDataLst>
              <p:tags r:id="rId41"/>
            </p:custDataLst>
          </p:nvPr>
        </p:nvSpPr>
        <p:spPr bwMode="gray">
          <a:xfrm>
            <a:off x="10142538" y="5022850"/>
            <a:ext cx="167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B9F67C3-45CC-451C-873C-951B5786508B}" type="datetime'Cu''stom''e''''r A''''''''''cqu''i''''''''si''''tio''''''n'''">
              <a:rPr lang="en-US" altLang="en-US" sz="1400"/>
              <a:pPr/>
              <a:t>Customer Acquisition</a:t>
            </a:fld>
            <a:endParaRPr lang="en-US" sz="1400" dirty="0">
              <a:sym typeface="+mn-lt"/>
            </a:endParaRPr>
          </a:p>
        </p:txBody>
      </p:sp>
      <p:sp>
        <p:nvSpPr>
          <p:cNvPr id="46" name="Text Placeholder 3"/>
          <p:cNvSpPr>
            <a:spLocks noGrp="1"/>
          </p:cNvSpPr>
          <p:nvPr>
            <p:custDataLst>
              <p:tags r:id="rId42"/>
            </p:custDataLst>
          </p:nvPr>
        </p:nvSpPr>
        <p:spPr bwMode="gray">
          <a:xfrm>
            <a:off x="10142538" y="4495800"/>
            <a:ext cx="1371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453903D-8D4D-4CCA-9926-A2F0561601D1}" type="datetime'''''''''C''hur''n'' Prev''''''''e''nti''''''''''o''''''n'">
              <a:rPr lang="en-US" altLang="en-US" sz="1400">
                <a:sym typeface="+mn-lt"/>
              </a:rPr>
              <a:pPr>
                <a:lnSpc>
                  <a:spcPct val="100000"/>
                </a:lnSpc>
                <a:spcBef>
                  <a:spcPct val="0"/>
                </a:spcBef>
                <a:spcAft>
                  <a:spcPct val="0"/>
                </a:spcAft>
              </a:pPr>
              <a:t>Churn Prevention</a:t>
            </a:fld>
            <a:endParaRPr lang="en-US" sz="1400" dirty="0">
              <a:sym typeface="+mn-lt"/>
            </a:endParaRPr>
          </a:p>
        </p:txBody>
      </p:sp>
      <p:sp>
        <p:nvSpPr>
          <p:cNvPr id="48" name="Text Placeholder 3"/>
          <p:cNvSpPr>
            <a:spLocks noGrp="1"/>
          </p:cNvSpPr>
          <p:nvPr>
            <p:custDataLst>
              <p:tags r:id="rId43"/>
            </p:custDataLst>
          </p:nvPr>
        </p:nvSpPr>
        <p:spPr bwMode="gray">
          <a:xfrm>
            <a:off x="10142538" y="3968750"/>
            <a:ext cx="8239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CEB2508-8D3E-49C9-BABA-6B7D325C3F65}" type="datetime'''''''''F''r''''eq''''''''''ue''n''''''cy'''''''''''">
              <a:rPr lang="en-US" altLang="en-US" sz="1400"/>
              <a:pPr/>
              <a:t>Frequency</a:t>
            </a:fld>
            <a:endParaRPr lang="en-US" sz="1400" dirty="0">
              <a:sym typeface="+mn-lt"/>
            </a:endParaRPr>
          </a:p>
        </p:txBody>
      </p:sp>
      <p:sp>
        <p:nvSpPr>
          <p:cNvPr id="43" name="Text Placeholder 3"/>
          <p:cNvSpPr>
            <a:spLocks noGrp="1"/>
          </p:cNvSpPr>
          <p:nvPr>
            <p:custDataLst>
              <p:tags r:id="rId44"/>
            </p:custDataLst>
          </p:nvPr>
        </p:nvSpPr>
        <p:spPr bwMode="gray">
          <a:xfrm>
            <a:off x="10142538" y="4232275"/>
            <a:ext cx="14859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4483F1D-591E-4EC9-994F-C352D4EE1C70}" type="datetime'''''Br''a''''n''''''d ''eng''''''''a''ge''m''''e''''n''''t'''">
              <a:rPr lang="en-US" altLang="en-US" sz="1400">
                <a:sym typeface="+mn-lt"/>
              </a:rPr>
              <a:pPr>
                <a:lnSpc>
                  <a:spcPct val="100000"/>
                </a:lnSpc>
                <a:spcBef>
                  <a:spcPct val="0"/>
                </a:spcBef>
                <a:spcAft>
                  <a:spcPct val="0"/>
                </a:spcAft>
              </a:pPr>
              <a:t>Brand engagement</a:t>
            </a:fld>
            <a:endParaRPr lang="en-US" sz="1400" dirty="0">
              <a:sym typeface="+mn-lt"/>
            </a:endParaRPr>
          </a:p>
        </p:txBody>
      </p:sp>
      <p:sp>
        <p:nvSpPr>
          <p:cNvPr id="49" name="Text Placeholder 3"/>
          <p:cNvSpPr>
            <a:spLocks noGrp="1"/>
          </p:cNvSpPr>
          <p:nvPr>
            <p:custDataLst>
              <p:tags r:id="rId45"/>
            </p:custDataLst>
          </p:nvPr>
        </p:nvSpPr>
        <p:spPr bwMode="gray">
          <a:xfrm>
            <a:off x="10142538" y="4759325"/>
            <a:ext cx="13985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EB4B49A-4F77-4D06-BCAB-38DEA5FF1850}" type="datetime'C''ro''''''''ss''-''se''''l''l''/U''p-''se''''''''''ll'''''''">
              <a:rPr lang="en-US" altLang="en-US" sz="1400"/>
              <a:pPr/>
              <a:t>Cross-sell/Up-sell</a:t>
            </a:fld>
            <a:endParaRPr lang="en-US" sz="1400" dirty="0">
              <a:sym typeface="+mn-lt"/>
            </a:endParaRPr>
          </a:p>
        </p:txBody>
      </p:sp>
      <p:sp>
        <p:nvSpPr>
          <p:cNvPr id="62" name="TextBox 61"/>
          <p:cNvSpPr txBox="1"/>
          <p:nvPr/>
        </p:nvSpPr>
        <p:spPr>
          <a:xfrm>
            <a:off x="7118012" y="1965410"/>
            <a:ext cx="184845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rgbClr val="29BA74"/>
                </a:solidFill>
              </a:rPr>
              <a:t>1</a:t>
            </a:r>
            <a:r>
              <a:rPr lang="en-US" sz="1200" baseline="30000" dirty="0" smtClean="0">
                <a:solidFill>
                  <a:srgbClr val="29BA74"/>
                </a:solidFill>
              </a:rPr>
              <a:t>st</a:t>
            </a:r>
            <a:r>
              <a:rPr lang="en-US" sz="1200" dirty="0" smtClean="0">
                <a:solidFill>
                  <a:srgbClr val="29BA74"/>
                </a:solidFill>
              </a:rPr>
              <a:t> priority use cases</a:t>
            </a:r>
          </a:p>
        </p:txBody>
      </p:sp>
      <p:sp>
        <p:nvSpPr>
          <p:cNvPr id="41" name="ee4pFootnotes"/>
          <p:cNvSpPr>
            <a:spLocks noChangeArrowheads="1"/>
          </p:cNvSpPr>
          <p:nvPr/>
        </p:nvSpPr>
        <p:spPr bwMode="auto">
          <a:xfrm>
            <a:off x="629999" y="6388910"/>
            <a:ext cx="8704501"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Source: Club Cinépolis BR 2018; App &amp; Webpage Cinépolis Analytics; Cinépolis Category Management 2017; Cinépolis Mexico P&amp;L 2017; BCG Analysis</a:t>
            </a:r>
            <a:endParaRPr lang="en-US" sz="1000" dirty="0">
              <a:solidFill>
                <a:schemeClr val="bg1">
                  <a:lumMod val="50000"/>
                </a:schemeClr>
              </a:solidFill>
              <a:latin typeface="Trebuchet MS" panose="020B0603020202020204" pitchFamily="34" charset="0"/>
              <a:cs typeface="Arial" pitchFamily="34" charset="0"/>
            </a:endParaRPr>
          </a:p>
        </p:txBody>
      </p:sp>
      <p:sp>
        <p:nvSpPr>
          <p:cNvPr id="70" name="TextBox 69"/>
          <p:cNvSpPr txBox="1"/>
          <p:nvPr/>
        </p:nvSpPr>
        <p:spPr>
          <a:xfrm>
            <a:off x="8626475" y="5349924"/>
            <a:ext cx="914400" cy="3042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lang="en-US" sz="1400" dirty="0" smtClean="0">
                <a:solidFill>
                  <a:srgbClr val="575757"/>
                </a:solidFill>
              </a:rPr>
              <a:t>Faster</a:t>
            </a:r>
          </a:p>
          <a:p>
            <a:pPr algn="ctr"/>
            <a:r>
              <a:rPr lang="en-US" sz="1400" dirty="0" smtClean="0">
                <a:solidFill>
                  <a:srgbClr val="575757"/>
                </a:solidFill>
              </a:rPr>
              <a:t>(&lt;4mos)</a:t>
            </a:r>
          </a:p>
        </p:txBody>
      </p:sp>
      <p:sp>
        <p:nvSpPr>
          <p:cNvPr id="77" name="TextBox 76"/>
          <p:cNvSpPr txBox="1"/>
          <p:nvPr/>
        </p:nvSpPr>
        <p:spPr>
          <a:xfrm>
            <a:off x="7479423" y="3720889"/>
            <a:ext cx="184845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rgbClr val="D4DF33"/>
                </a:solidFill>
              </a:rPr>
              <a:t>2</a:t>
            </a:r>
            <a:r>
              <a:rPr lang="en-US" sz="1200" baseline="30000" dirty="0" smtClean="0">
                <a:solidFill>
                  <a:srgbClr val="D4DF33"/>
                </a:solidFill>
              </a:rPr>
              <a:t>nd</a:t>
            </a:r>
            <a:r>
              <a:rPr lang="en-US" sz="1200" dirty="0" smtClean="0">
                <a:solidFill>
                  <a:srgbClr val="D4DF33"/>
                </a:solidFill>
              </a:rPr>
              <a:t> priority</a:t>
            </a:r>
          </a:p>
        </p:txBody>
      </p:sp>
      <p:sp>
        <p:nvSpPr>
          <p:cNvPr id="80" name="Oval 79"/>
          <p:cNvSpPr/>
          <p:nvPr/>
        </p:nvSpPr>
        <p:spPr>
          <a:xfrm>
            <a:off x="4194185" y="2143126"/>
            <a:ext cx="252413" cy="252000"/>
          </a:xfrm>
          <a:prstGeom prst="ellipse">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83" name="TextBox 82"/>
          <p:cNvSpPr txBox="1"/>
          <p:nvPr/>
        </p:nvSpPr>
        <p:spPr>
          <a:xfrm>
            <a:off x="2335213" y="2030710"/>
            <a:ext cx="1842164"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200" dirty="0" smtClean="0">
                <a:solidFill>
                  <a:srgbClr val="29BA74"/>
                </a:solidFill>
              </a:rPr>
              <a:t>Example</a:t>
            </a:r>
            <a:r>
              <a:rPr lang="en-US" sz="1200" smtClean="0">
                <a:solidFill>
                  <a:srgbClr val="29BA74"/>
                </a:solidFill>
              </a:rPr>
              <a:t>: Frequency Challenge </a:t>
            </a:r>
            <a:r>
              <a:rPr lang="en-US" sz="1200" dirty="0">
                <a:solidFill>
                  <a:srgbClr val="29BA74"/>
                </a:solidFill>
              </a:rPr>
              <a:t>full potential </a:t>
            </a:r>
            <a:endParaRPr lang="en-US" sz="1200" dirty="0" smtClean="0">
              <a:solidFill>
                <a:srgbClr val="29BA74"/>
              </a:solidFill>
            </a:endParaRPr>
          </a:p>
        </p:txBody>
      </p:sp>
      <p:cxnSp>
        <p:nvCxnSpPr>
          <p:cNvPr id="84" name="Straight Arrow Connector 83"/>
          <p:cNvCxnSpPr/>
          <p:nvPr/>
        </p:nvCxnSpPr>
        <p:spPr>
          <a:xfrm flipH="1" flipV="1">
            <a:off x="4503330" y="2294287"/>
            <a:ext cx="3421297" cy="872339"/>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6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71" name="NavigationIcon"/>
          <p:cNvGrpSpPr>
            <a:grpSpLocks noChangeAspect="1"/>
          </p:cNvGrpSpPr>
          <p:nvPr/>
        </p:nvGrpSpPr>
        <p:grpSpPr>
          <a:xfrm>
            <a:off x="11644824" y="140635"/>
            <a:ext cx="457200" cy="350245"/>
            <a:chOff x="5377816" y="2865501"/>
            <a:chExt cx="1434846" cy="1099185"/>
          </a:xfrm>
        </p:grpSpPr>
        <p:sp>
          <p:nvSpPr>
            <p:cNvPr id="72" name="Freeform 40">
              <a:extLst>
                <a:ext uri="{FF2B5EF4-FFF2-40B4-BE49-F238E27FC236}">
                  <a16:creationId xmlns:a16="http://schemas.microsoft.com/office/drawing/2014/main" xmlns="" id="{D57879F5-9B1E-462F-9BDA-EED0EB7A4B61}"/>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73" name="Freeform 41">
              <a:extLst>
                <a:ext uri="{FF2B5EF4-FFF2-40B4-BE49-F238E27FC236}">
                  <a16:creationId xmlns:a16="http://schemas.microsoft.com/office/drawing/2014/main" xmlns="" id="{D6078FFA-8F8C-4A72-858A-E911AAC5F6EA}"/>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2"/>
    </p:custDataLst>
    <p:extLst>
      <p:ext uri="{BB962C8B-B14F-4D97-AF65-F5344CB8AC3E}">
        <p14:creationId xmlns:p14="http://schemas.microsoft.com/office/powerpoint/2010/main" val="2067729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A roadmap was created to iterate and increase the complexity of modeling for each of the use cases</a:t>
            </a:r>
            <a:endParaRPr lang="en-US" dirty="0"/>
          </a:p>
        </p:txBody>
      </p:sp>
      <p:sp>
        <p:nvSpPr>
          <p:cNvPr id="3" name="ee4pHeader1"/>
          <p:cNvSpPr>
            <a:spLocks noChangeArrowheads="1"/>
          </p:cNvSpPr>
          <p:nvPr>
            <p:custDataLst>
              <p:tags r:id="rId2"/>
            </p:custDataLst>
          </p:nvPr>
        </p:nvSpPr>
        <p:spPr bwMode="gray">
          <a:xfrm>
            <a:off x="1976284" y="1855097"/>
            <a:ext cx="2414741" cy="381909"/>
          </a:xfrm>
          <a:prstGeom prst="homePlate">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000" dirty="0" smtClean="0">
                <a:solidFill>
                  <a:schemeClr val="bg1"/>
                </a:solidFill>
                <a:sym typeface="Trebuchet MS" panose="020B0603020202020204" pitchFamily="34" charset="0"/>
              </a:rPr>
              <a:t>Initial tests</a:t>
            </a:r>
            <a:endParaRPr lang="en-US" sz="2000" dirty="0">
              <a:solidFill>
                <a:schemeClr val="bg1"/>
              </a:solidFill>
              <a:sym typeface="Trebuchet MS" panose="020B0603020202020204" pitchFamily="34" charset="0"/>
            </a:endParaRPr>
          </a:p>
        </p:txBody>
      </p:sp>
      <p:sp>
        <p:nvSpPr>
          <p:cNvPr id="4" name="ee4pHeader2"/>
          <p:cNvSpPr>
            <a:spLocks noChangeArrowheads="1"/>
          </p:cNvSpPr>
          <p:nvPr>
            <p:custDataLst>
              <p:tags r:id="rId3"/>
            </p:custDataLst>
          </p:nvPr>
        </p:nvSpPr>
        <p:spPr bwMode="gray">
          <a:xfrm>
            <a:off x="4391025" y="1855097"/>
            <a:ext cx="3895725" cy="381909"/>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000" dirty="0" smtClean="0">
                <a:solidFill>
                  <a:schemeClr val="bg1"/>
                </a:solidFill>
                <a:sym typeface="Trebuchet MS" panose="020B0603020202020204" pitchFamily="34" charset="0"/>
              </a:rPr>
              <a:t>Incremental learnings</a:t>
            </a:r>
            <a:endParaRPr lang="en-US" sz="2000" dirty="0">
              <a:solidFill>
                <a:schemeClr val="bg1"/>
              </a:solidFill>
              <a:sym typeface="Trebuchet MS" panose="020B0603020202020204" pitchFamily="34" charset="0"/>
            </a:endParaRPr>
          </a:p>
        </p:txBody>
      </p:sp>
      <p:sp>
        <p:nvSpPr>
          <p:cNvPr id="5" name="ee4pHeader3"/>
          <p:cNvSpPr>
            <a:spLocks noChangeArrowheads="1"/>
          </p:cNvSpPr>
          <p:nvPr>
            <p:custDataLst>
              <p:tags r:id="rId4"/>
            </p:custDataLst>
          </p:nvPr>
        </p:nvSpPr>
        <p:spPr bwMode="gray">
          <a:xfrm>
            <a:off x="8286751" y="1855097"/>
            <a:ext cx="3276450" cy="381909"/>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000" dirty="0" smtClean="0">
                <a:solidFill>
                  <a:schemeClr val="bg1"/>
                </a:solidFill>
                <a:sym typeface="Trebuchet MS" panose="020B0603020202020204" pitchFamily="34" charset="0"/>
              </a:rPr>
              <a:t>Advanced solutions</a:t>
            </a:r>
            <a:endParaRPr lang="en-US" sz="2000" dirty="0">
              <a:solidFill>
                <a:schemeClr val="bg1"/>
              </a:solidFill>
              <a:sym typeface="Trebuchet MS" panose="020B0603020202020204" pitchFamily="34" charset="0"/>
            </a:endParaRPr>
          </a:p>
        </p:txBody>
      </p:sp>
      <p:graphicFrame>
        <p:nvGraphicFramePr>
          <p:cNvPr id="9" name="Table 8"/>
          <p:cNvGraphicFramePr>
            <a:graphicFrameLocks noGrp="1"/>
          </p:cNvGraphicFramePr>
          <p:nvPr>
            <p:extLst/>
          </p:nvPr>
        </p:nvGraphicFramePr>
        <p:xfrm>
          <a:off x="630000" y="2307651"/>
          <a:ext cx="10933200" cy="3872833"/>
        </p:xfrm>
        <a:graphic>
          <a:graphicData uri="http://schemas.openxmlformats.org/drawingml/2006/table">
            <a:tbl>
              <a:tblPr firstRow="1">
                <a:tableStyleId>{2D5ABB26-0587-4C30-8999-92F81FD0307C}</a:tableStyleId>
              </a:tblPr>
              <a:tblGrid>
                <a:gridCol w="1267626"/>
                <a:gridCol w="2485667"/>
                <a:gridCol w="3862305"/>
                <a:gridCol w="3317602"/>
              </a:tblGrid>
              <a:tr h="868168">
                <a:tc>
                  <a:txBody>
                    <a:bodyPr/>
                    <a:lstStyle/>
                    <a:p>
                      <a:pPr marL="0" lvl="0" indent="0" algn="l" rtl="0" fontAlgn="base" hangingPunct="1">
                        <a:lnSpc>
                          <a:spcPct val="100000"/>
                        </a:lnSpc>
                        <a:spcBef>
                          <a:spcPct val="0"/>
                        </a:spcBef>
                        <a:spcAft>
                          <a:spcPct val="0"/>
                        </a:spcAft>
                      </a:pPr>
                      <a:r>
                        <a:rPr lang="en-US" sz="1800" b="0" i="0" u="none" dirty="0" smtClean="0">
                          <a:solidFill>
                            <a:schemeClr val="tx2">
                              <a:lumMod val="100000"/>
                            </a:schemeClr>
                          </a:solidFill>
                          <a:latin typeface="Trebuchet MS" panose="020B0603020202020204" pitchFamily="34" charset="0"/>
                        </a:rPr>
                        <a:t>Main Objective</a:t>
                      </a:r>
                      <a:endParaRPr lang="en-US" sz="1800" b="0" i="0" u="none" dirty="0">
                        <a:solidFill>
                          <a:schemeClr val="tx2">
                            <a:lumMod val="100000"/>
                          </a:schemeClr>
                        </a:solidFill>
                        <a:latin typeface="Trebuchet MS" panose="020B0603020202020204" pitchFamily="34" charset="0"/>
                      </a:endParaRPr>
                    </a:p>
                  </a:txBody>
                  <a:tcPr marL="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08000" lvl="1" indent="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pPr>
                      <a:r>
                        <a:rPr lang="en-US" sz="1600" b="0" i="0" u="none" kern="1200" spc="0" baseline="0" dirty="0" smtClean="0">
                          <a:solidFill>
                            <a:schemeClr val="tx1">
                              <a:lumMod val="100000"/>
                            </a:schemeClr>
                          </a:solidFill>
                          <a:latin typeface="Trebuchet MS" panose="020B0603020202020204" pitchFamily="34" charset="0"/>
                        </a:rPr>
                        <a:t>Stress test operations &amp; strengthen use cases  </a:t>
                      </a:r>
                    </a:p>
                  </a:txBody>
                  <a:tcPr marL="72000" marR="72000" marT="73152" marB="73152">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smtClean="0">
                          <a:solidFill>
                            <a:schemeClr val="tx1">
                              <a:lumMod val="100000"/>
                            </a:schemeClr>
                          </a:solidFill>
                          <a:latin typeface="Trebuchet MS" panose="020B0603020202020204" pitchFamily="34" charset="0"/>
                        </a:rPr>
                        <a:t>Leverage learnings from the first test to refine targeting and build initial models</a:t>
                      </a:r>
                      <a:endParaRPr lang="en-US" sz="1600" dirty="0"/>
                    </a:p>
                  </a:txBody>
                  <a:tcPr marL="72000" marR="72000" marT="73152" marB="73152">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0" i="0" u="none" dirty="0" smtClean="0">
                          <a:solidFill>
                            <a:schemeClr val="tx1">
                              <a:lumMod val="100000"/>
                            </a:schemeClr>
                          </a:solidFill>
                          <a:latin typeface="Trebuchet MS" panose="020B0603020202020204" pitchFamily="34" charset="0"/>
                        </a:rPr>
                        <a:t>Begin the journey toward 1-1 personalization</a:t>
                      </a:r>
                    </a:p>
                    <a:p>
                      <a:endParaRPr lang="en-US" sz="1600" b="0" i="0" u="none" baseline="0" dirty="0" smtClean="0">
                        <a:solidFill>
                          <a:schemeClr val="tx1">
                            <a:lumMod val="100000"/>
                          </a:schemeClr>
                        </a:solidFill>
                        <a:latin typeface="Trebuchet MS" panose="020B0603020202020204" pitchFamily="34" charset="0"/>
                      </a:endParaRPr>
                    </a:p>
                  </a:txBody>
                  <a:tcPr marL="72000" marR="72000" marT="73152" marB="73152">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228029">
                <a:tc>
                  <a:txBody>
                    <a:bodyPr/>
                    <a:lstStyle/>
                    <a:p>
                      <a:pPr marL="0" lvl="0" indent="0" algn="l" rtl="0" fontAlgn="base" hangingPunct="1">
                        <a:lnSpc>
                          <a:spcPct val="100000"/>
                        </a:lnSpc>
                        <a:spcBef>
                          <a:spcPct val="0"/>
                        </a:spcBef>
                        <a:spcAft>
                          <a:spcPct val="0"/>
                        </a:spcAft>
                      </a:pPr>
                      <a:r>
                        <a:rPr lang="en-US" sz="1800" b="0" i="0" u="none" dirty="0" smtClean="0">
                          <a:solidFill>
                            <a:schemeClr val="tx2">
                              <a:lumMod val="100000"/>
                            </a:schemeClr>
                          </a:solidFill>
                          <a:latin typeface="Trebuchet MS" panose="020B0603020202020204" pitchFamily="34" charset="0"/>
                        </a:rPr>
                        <a:t>Supporting Models</a:t>
                      </a:r>
                      <a:endParaRPr lang="en-US" sz="1800" b="0" i="0" u="none" dirty="0">
                        <a:solidFill>
                          <a:schemeClr val="tx2">
                            <a:lumMod val="100000"/>
                          </a:schemeClr>
                        </a:solidFill>
                        <a:latin typeface="Trebuchet MS" panose="020B0603020202020204" pitchFamily="34" charset="0"/>
                      </a:endParaRPr>
                    </a:p>
                  </a:txBody>
                  <a:tcPr marL="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600" b="0" i="0" u="none" kern="1200" spc="0" dirty="0" smtClean="0">
                          <a:solidFill>
                            <a:schemeClr val="tx1">
                              <a:lumMod val="100000"/>
                            </a:schemeClr>
                          </a:solidFill>
                          <a:latin typeface="Trebuchet MS" panose="020B0603020202020204" pitchFamily="34" charset="0"/>
                        </a:rPr>
                        <a:t>Test</a:t>
                      </a:r>
                      <a:r>
                        <a:rPr lang="en-US" sz="1600" b="0" i="0" u="none" kern="1200" spc="0" baseline="0" dirty="0" smtClean="0">
                          <a:solidFill>
                            <a:schemeClr val="tx1">
                              <a:lumMod val="100000"/>
                            </a:schemeClr>
                          </a:solidFill>
                          <a:latin typeface="Trebuchet MS" panose="020B0603020202020204" pitchFamily="34" charset="0"/>
                        </a:rPr>
                        <a:t> and learn</a:t>
                      </a:r>
                    </a:p>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600" b="0" i="0" u="none" kern="1200" spc="0" baseline="0" dirty="0" smtClean="0">
                          <a:solidFill>
                            <a:schemeClr val="tx1">
                              <a:lumMod val="100000"/>
                            </a:schemeClr>
                          </a:solidFill>
                          <a:latin typeface="Trebuchet MS" panose="020B0603020202020204" pitchFamily="34" charset="0"/>
                        </a:rPr>
                        <a:t>Business Rule Segmentation</a:t>
                      </a:r>
                    </a:p>
                  </a:txBody>
                  <a:tcPr marL="7200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600" b="0" i="0" u="none" kern="1200" spc="0" baseline="0" dirty="0" smtClean="0">
                          <a:solidFill>
                            <a:schemeClr val="tx1">
                              <a:lumMod val="100000"/>
                            </a:schemeClr>
                          </a:solidFill>
                          <a:latin typeface="Trebuchet MS" panose="020B0603020202020204" pitchFamily="34" charset="0"/>
                        </a:rPr>
                        <a:t>K-Nearest Neighbor clustering</a:t>
                      </a:r>
                    </a:p>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600" b="0" i="0" u="none" kern="1200" spc="0" baseline="0" dirty="0" smtClean="0">
                          <a:solidFill>
                            <a:schemeClr val="tx1">
                              <a:lumMod val="100000"/>
                            </a:schemeClr>
                          </a:solidFill>
                          <a:latin typeface="Trebuchet MS" panose="020B0603020202020204" pitchFamily="34" charset="0"/>
                        </a:rPr>
                        <a:t>Propensity models (e.g. product propensity model, buy together, </a:t>
                      </a:r>
                      <a:r>
                        <a:rPr lang="en-US" sz="1600" b="0" i="0" u="none" kern="1200" spc="0" baseline="0" dirty="0" err="1" smtClean="0">
                          <a:solidFill>
                            <a:schemeClr val="tx1">
                              <a:lumMod val="100000"/>
                            </a:schemeClr>
                          </a:solidFill>
                          <a:latin typeface="Trebuchet MS" panose="020B0603020202020204" pitchFamily="34" charset="0"/>
                        </a:rPr>
                        <a:t>etc</a:t>
                      </a:r>
                      <a:r>
                        <a:rPr lang="en-US" sz="1600" b="0" i="0" u="none" kern="1200" spc="0" baseline="0" dirty="0" smtClean="0">
                          <a:solidFill>
                            <a:schemeClr val="tx1">
                              <a:lumMod val="100000"/>
                            </a:schemeClr>
                          </a:solidFill>
                          <a:latin typeface="Trebuchet MS" panose="020B0603020202020204" pitchFamily="34" charset="0"/>
                        </a:rPr>
                        <a:t>)</a:t>
                      </a:r>
                    </a:p>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600" b="0" i="0" u="none" kern="1200" spc="0" baseline="0" dirty="0" smtClean="0">
                          <a:solidFill>
                            <a:schemeClr val="tx1">
                              <a:lumMod val="100000"/>
                            </a:schemeClr>
                          </a:solidFill>
                          <a:latin typeface="Trebuchet MS" panose="020B0603020202020204" pitchFamily="34" charset="0"/>
                        </a:rPr>
                        <a:t>Lookalike models</a:t>
                      </a:r>
                    </a:p>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endParaRPr lang="en-US" sz="1600" b="0" i="0" u="none" kern="1200" spc="0" baseline="0" dirty="0" smtClean="0">
                        <a:solidFill>
                          <a:schemeClr val="tx1">
                            <a:lumMod val="100000"/>
                          </a:schemeClr>
                        </a:solidFill>
                        <a:latin typeface="Trebuchet MS" panose="020B0603020202020204" pitchFamily="34" charset="0"/>
                      </a:endParaRPr>
                    </a:p>
                  </a:txBody>
                  <a:tcPr marL="7200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600" b="0" i="0" u="none" kern="1200" spc="0" baseline="0" dirty="0" smtClean="0">
                          <a:solidFill>
                            <a:schemeClr val="tx1">
                              <a:lumMod val="100000"/>
                            </a:schemeClr>
                          </a:solidFill>
                          <a:latin typeface="Trebuchet MS" panose="020B0603020202020204" pitchFamily="34" charset="0"/>
                        </a:rPr>
                        <a:t>Movie affinity</a:t>
                      </a:r>
                    </a:p>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600" b="0" i="0" u="none" kern="1200" spc="0" baseline="0" dirty="0" smtClean="0">
                          <a:solidFill>
                            <a:schemeClr val="tx1">
                              <a:lumMod val="100000"/>
                            </a:schemeClr>
                          </a:solidFill>
                          <a:latin typeface="Trebuchet MS" panose="020B0603020202020204" pitchFamily="34" charset="0"/>
                        </a:rPr>
                        <a:t>Collaborative filtering</a:t>
                      </a:r>
                    </a:p>
                    <a:p>
                      <a:endParaRPr lang="en-US" sz="1600" b="0" i="0" u="none" dirty="0">
                        <a:solidFill>
                          <a:schemeClr val="tx1">
                            <a:lumMod val="100000"/>
                          </a:schemeClr>
                        </a:solidFill>
                        <a:latin typeface="Trebuchet MS" panose="020B0603020202020204" pitchFamily="34" charset="0"/>
                      </a:endParaRPr>
                    </a:p>
                  </a:txBody>
                  <a:tcPr marL="7200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629505">
                <a:tc>
                  <a:txBody>
                    <a:bodyPr/>
                    <a:lstStyle/>
                    <a:p>
                      <a:pPr marL="0" lvl="0" indent="0" algn="l" rtl="0" fontAlgn="base" hangingPunct="1">
                        <a:lnSpc>
                          <a:spcPct val="100000"/>
                        </a:lnSpc>
                        <a:spcBef>
                          <a:spcPct val="0"/>
                        </a:spcBef>
                        <a:spcAft>
                          <a:spcPct val="0"/>
                        </a:spcAft>
                      </a:pPr>
                      <a:r>
                        <a:rPr lang="en-US" sz="1800" b="0" i="0" u="none" dirty="0" smtClean="0">
                          <a:solidFill>
                            <a:schemeClr val="tx2">
                              <a:lumMod val="100000"/>
                            </a:schemeClr>
                          </a:solidFill>
                          <a:latin typeface="Trebuchet MS" panose="020B0603020202020204" pitchFamily="34" charset="0"/>
                        </a:rPr>
                        <a:t>Examples:</a:t>
                      </a:r>
                      <a:endParaRPr lang="en-US" sz="1800" b="0" i="0" u="none" dirty="0">
                        <a:solidFill>
                          <a:schemeClr val="tx2">
                            <a:lumMod val="100000"/>
                          </a:schemeClr>
                        </a:solidFill>
                        <a:latin typeface="Trebuchet MS" panose="020B0603020202020204" pitchFamily="34" charset="0"/>
                      </a:endParaRPr>
                    </a:p>
                  </a:txBody>
                  <a:tcPr marL="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endParaRPr lang="en-US" sz="1600" b="0" i="0" u="none" kern="1200" spc="0" baseline="0" dirty="0" smtClean="0">
                        <a:solidFill>
                          <a:schemeClr val="tx1">
                            <a:lumMod val="100000"/>
                          </a:schemeClr>
                        </a:solidFill>
                        <a:latin typeface="Trebuchet MS" panose="020B0603020202020204" pitchFamily="34" charset="0"/>
                      </a:endParaRPr>
                    </a:p>
                  </a:txBody>
                  <a:tcPr marL="7200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endParaRPr lang="en-US" sz="1600" b="0" i="0" u="none" kern="1200" spc="0" baseline="0" dirty="0" smtClean="0">
                        <a:solidFill>
                          <a:schemeClr val="tx1">
                            <a:lumMod val="100000"/>
                          </a:schemeClr>
                        </a:solidFill>
                        <a:latin typeface="Trebuchet MS" panose="020B0603020202020204" pitchFamily="34" charset="0"/>
                      </a:endParaRPr>
                    </a:p>
                  </a:txBody>
                  <a:tcPr marL="7200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b="0" i="0" u="none" dirty="0">
                        <a:solidFill>
                          <a:schemeClr val="tx1">
                            <a:lumMod val="100000"/>
                          </a:schemeClr>
                        </a:solidFill>
                        <a:latin typeface="Trebuchet MS" panose="020B0603020202020204" pitchFamily="34" charset="0"/>
                      </a:endParaRPr>
                    </a:p>
                  </a:txBody>
                  <a:tcPr marL="72000" marR="72000" marT="73152" marB="73152">
                    <a:lnL>
                      <a:noFill/>
                    </a:lnL>
                    <a:lnR>
                      <a:noFill/>
                    </a:lnR>
                    <a:lnT w="9525">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2" name="TextBox 11"/>
          <p:cNvSpPr txBox="1"/>
          <p:nvPr/>
        </p:nvSpPr>
        <p:spPr>
          <a:xfrm>
            <a:off x="3624864" y="6345382"/>
            <a:ext cx="5226519" cy="3573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Increasing complexity and sophistication</a:t>
            </a:r>
          </a:p>
        </p:txBody>
      </p:sp>
      <p:sp>
        <p:nvSpPr>
          <p:cNvPr id="29" name="TextBox 28"/>
          <p:cNvSpPr txBox="1"/>
          <p:nvPr/>
        </p:nvSpPr>
        <p:spPr>
          <a:xfrm>
            <a:off x="2047875" y="1564596"/>
            <a:ext cx="2343150" cy="269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September</a:t>
            </a:r>
          </a:p>
        </p:txBody>
      </p:sp>
      <p:sp>
        <p:nvSpPr>
          <p:cNvPr id="30" name="TextBox 29"/>
          <p:cNvSpPr txBox="1"/>
          <p:nvPr/>
        </p:nvSpPr>
        <p:spPr>
          <a:xfrm>
            <a:off x="5562560" y="1564596"/>
            <a:ext cx="1552655" cy="269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October</a:t>
            </a:r>
          </a:p>
        </p:txBody>
      </p:sp>
      <p:sp>
        <p:nvSpPr>
          <p:cNvPr id="31" name="TextBox 30"/>
          <p:cNvSpPr txBox="1"/>
          <p:nvPr/>
        </p:nvSpPr>
        <p:spPr>
          <a:xfrm>
            <a:off x="8853053" y="1564596"/>
            <a:ext cx="2143844" cy="269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solidFill>
                  <a:srgbClr val="575757"/>
                </a:solidFill>
              </a:rPr>
              <a:t>November</a:t>
            </a:r>
          </a:p>
        </p:txBody>
      </p:sp>
      <p:grpSp>
        <p:nvGrpSpPr>
          <p:cNvPr id="14" name="Group 13"/>
          <p:cNvGrpSpPr>
            <a:grpSpLocks/>
          </p:cNvGrpSpPr>
          <p:nvPr/>
        </p:nvGrpSpPr>
        <p:grpSpPr>
          <a:xfrm>
            <a:off x="8349125" y="4444361"/>
            <a:ext cx="3151701" cy="1446792"/>
            <a:chOff x="911732" y="1456926"/>
            <a:chExt cx="10363313" cy="4757293"/>
          </a:xfrm>
        </p:grpSpPr>
        <p:grpSp>
          <p:nvGrpSpPr>
            <p:cNvPr id="15" name="Group 14">
              <a:extLst>
                <a:ext uri="{FF2B5EF4-FFF2-40B4-BE49-F238E27FC236}">
                  <a16:creationId xmlns:a16="http://schemas.microsoft.com/office/drawing/2014/main" xmlns="" id="{8529C18D-11CE-4183-8572-BDD7727124F6}"/>
                </a:ext>
              </a:extLst>
            </p:cNvPr>
            <p:cNvGrpSpPr>
              <a:grpSpLocks noChangeAspect="1"/>
            </p:cNvGrpSpPr>
            <p:nvPr/>
          </p:nvGrpSpPr>
          <p:grpSpPr bwMode="auto">
            <a:xfrm>
              <a:off x="7113360" y="2681344"/>
              <a:ext cx="1644396" cy="1645920"/>
              <a:chOff x="1682" y="0"/>
              <a:chExt cx="4316" cy="4320"/>
            </a:xfrm>
          </p:grpSpPr>
          <p:sp>
            <p:nvSpPr>
              <p:cNvPr id="62" name="AutoShape 13">
                <a:extLst>
                  <a:ext uri="{FF2B5EF4-FFF2-40B4-BE49-F238E27FC236}">
                    <a16:creationId xmlns:a16="http://schemas.microsoft.com/office/drawing/2014/main" xmlns="" id="{B0F1C927-EFAD-4D20-B2C6-4960D122376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sp>
            <p:nvSpPr>
              <p:cNvPr id="63" name="Freeform 15">
                <a:extLst>
                  <a:ext uri="{FF2B5EF4-FFF2-40B4-BE49-F238E27FC236}">
                    <a16:creationId xmlns:a16="http://schemas.microsoft.com/office/drawing/2014/main" xmlns="" id="{9F430D46-7758-479C-9716-5E6CC6874B0E}"/>
                  </a:ext>
                </a:extLst>
              </p:cNvPr>
              <p:cNvSpPr>
                <a:spLocks noEditPoints="1"/>
              </p:cNvSpPr>
              <p:nvPr/>
            </p:nvSpPr>
            <p:spPr bwMode="auto">
              <a:xfrm>
                <a:off x="3010" y="564"/>
                <a:ext cx="1727" cy="3107"/>
              </a:xfrm>
              <a:custGeom>
                <a:avLst/>
                <a:gdLst>
                  <a:gd name="T0" fmla="*/ 890 w 922"/>
                  <a:gd name="T1" fmla="*/ 537 h 1657"/>
                  <a:gd name="T2" fmla="*/ 922 w 922"/>
                  <a:gd name="T3" fmla="*/ 635 h 1657"/>
                  <a:gd name="T4" fmla="*/ 786 w 922"/>
                  <a:gd name="T5" fmla="*/ 675 h 1657"/>
                  <a:gd name="T6" fmla="*/ 244 w 922"/>
                  <a:gd name="T7" fmla="*/ 354 h 1657"/>
                  <a:gd name="T8" fmla="*/ 201 w 922"/>
                  <a:gd name="T9" fmla="*/ 380 h 1657"/>
                  <a:gd name="T10" fmla="*/ 25 w 922"/>
                  <a:gd name="T11" fmla="*/ 638 h 1657"/>
                  <a:gd name="T12" fmla="*/ 0 w 922"/>
                  <a:gd name="T13" fmla="*/ 452 h 1657"/>
                  <a:gd name="T14" fmla="*/ 446 w 922"/>
                  <a:gd name="T15" fmla="*/ 0 h 1657"/>
                  <a:gd name="T16" fmla="*/ 892 w 922"/>
                  <a:gd name="T17" fmla="*/ 452 h 1657"/>
                  <a:gd name="T18" fmla="*/ 890 w 922"/>
                  <a:gd name="T19" fmla="*/ 537 h 1657"/>
                  <a:gd name="T20" fmla="*/ 483 w 922"/>
                  <a:gd name="T21" fmla="*/ 1448 h 1657"/>
                  <a:gd name="T22" fmla="*/ 484 w 922"/>
                  <a:gd name="T23" fmla="*/ 1440 h 1657"/>
                  <a:gd name="T24" fmla="*/ 535 w 922"/>
                  <a:gd name="T25" fmla="*/ 1344 h 1657"/>
                  <a:gd name="T26" fmla="*/ 530 w 922"/>
                  <a:gd name="T27" fmla="*/ 1330 h 1657"/>
                  <a:gd name="T28" fmla="*/ 446 w 922"/>
                  <a:gd name="T29" fmla="*/ 1317 h 1657"/>
                  <a:gd name="T30" fmla="*/ 357 w 922"/>
                  <a:gd name="T31" fmla="*/ 1330 h 1657"/>
                  <a:gd name="T32" fmla="*/ 352 w 922"/>
                  <a:gd name="T33" fmla="*/ 1344 h 1657"/>
                  <a:gd name="T34" fmla="*/ 403 w 922"/>
                  <a:gd name="T35" fmla="*/ 1441 h 1657"/>
                  <a:gd name="T36" fmla="*/ 404 w 922"/>
                  <a:gd name="T37" fmla="*/ 1449 h 1657"/>
                  <a:gd name="T38" fmla="*/ 404 w 922"/>
                  <a:gd name="T39" fmla="*/ 1657 h 1657"/>
                  <a:gd name="T40" fmla="*/ 483 w 922"/>
                  <a:gd name="T41" fmla="*/ 1657 h 1657"/>
                  <a:gd name="T42" fmla="*/ 483 w 922"/>
                  <a:gd name="T43" fmla="*/ 14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2" h="1657">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83" y="1448"/>
                    </a:moveTo>
                    <a:cubicBezTo>
                      <a:pt x="482" y="1446"/>
                      <a:pt x="482" y="1443"/>
                      <a:pt x="484" y="1440"/>
                    </a:cubicBezTo>
                    <a:cubicBezTo>
                      <a:pt x="535" y="1344"/>
                      <a:pt x="535" y="1344"/>
                      <a:pt x="535" y="1344"/>
                    </a:cubicBezTo>
                    <a:cubicBezTo>
                      <a:pt x="538" y="1338"/>
                      <a:pt x="535" y="1331"/>
                      <a:pt x="530" y="1330"/>
                    </a:cubicBezTo>
                    <a:cubicBezTo>
                      <a:pt x="512" y="1325"/>
                      <a:pt x="475" y="1317"/>
                      <a:pt x="446" y="1317"/>
                    </a:cubicBezTo>
                    <a:cubicBezTo>
                      <a:pt x="416" y="1317"/>
                      <a:pt x="376" y="1325"/>
                      <a:pt x="357" y="1330"/>
                    </a:cubicBezTo>
                    <a:cubicBezTo>
                      <a:pt x="352" y="1331"/>
                      <a:pt x="349" y="1338"/>
                      <a:pt x="352" y="1344"/>
                    </a:cubicBezTo>
                    <a:cubicBezTo>
                      <a:pt x="403" y="1441"/>
                      <a:pt x="403" y="1441"/>
                      <a:pt x="403" y="1441"/>
                    </a:cubicBezTo>
                    <a:cubicBezTo>
                      <a:pt x="404" y="1443"/>
                      <a:pt x="405" y="1446"/>
                      <a:pt x="404" y="1449"/>
                    </a:cubicBezTo>
                    <a:cubicBezTo>
                      <a:pt x="404" y="1449"/>
                      <a:pt x="404" y="1611"/>
                      <a:pt x="404" y="1657"/>
                    </a:cubicBezTo>
                    <a:cubicBezTo>
                      <a:pt x="483" y="1657"/>
                      <a:pt x="483" y="1657"/>
                      <a:pt x="483" y="1657"/>
                    </a:cubicBezTo>
                    <a:cubicBezTo>
                      <a:pt x="483" y="1610"/>
                      <a:pt x="483" y="1448"/>
                      <a:pt x="483" y="14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sp>
            <p:nvSpPr>
              <p:cNvPr id="64" name="Freeform 16">
                <a:extLst>
                  <a:ext uri="{FF2B5EF4-FFF2-40B4-BE49-F238E27FC236}">
                    <a16:creationId xmlns:a16="http://schemas.microsoft.com/office/drawing/2014/main" xmlns="" id="{D11055DF-57FD-41EC-B05C-5B9F4251B3BD}"/>
                  </a:ext>
                </a:extLst>
              </p:cNvPr>
              <p:cNvSpPr>
                <a:spLocks noEditPoints="1"/>
              </p:cNvSpPr>
              <p:nvPr/>
            </p:nvSpPr>
            <p:spPr bwMode="auto">
              <a:xfrm>
                <a:off x="2148" y="1802"/>
                <a:ext cx="3384" cy="1869"/>
              </a:xfrm>
              <a:custGeom>
                <a:avLst/>
                <a:gdLst>
                  <a:gd name="T0" fmla="*/ 833 w 1806"/>
                  <a:gd name="T1" fmla="*/ 997 h 997"/>
                  <a:gd name="T2" fmla="*/ 26 w 1806"/>
                  <a:gd name="T3" fmla="*/ 997 h 997"/>
                  <a:gd name="T4" fmla="*/ 5 w 1806"/>
                  <a:gd name="T5" fmla="*/ 967 h 997"/>
                  <a:gd name="T6" fmla="*/ 223 w 1806"/>
                  <a:gd name="T7" fmla="*/ 650 h 997"/>
                  <a:gd name="T8" fmla="*/ 611 w 1806"/>
                  <a:gd name="T9" fmla="*/ 584 h 997"/>
                  <a:gd name="T10" fmla="*/ 611 w 1806"/>
                  <a:gd name="T11" fmla="*/ 584 h 997"/>
                  <a:gd name="T12" fmla="*/ 519 w 1806"/>
                  <a:gd name="T13" fmla="*/ 732 h 997"/>
                  <a:gd name="T14" fmla="*/ 661 w 1806"/>
                  <a:gd name="T15" fmla="*/ 732 h 997"/>
                  <a:gd name="T16" fmla="*/ 833 w 1806"/>
                  <a:gd name="T17" fmla="*/ 997 h 997"/>
                  <a:gd name="T18" fmla="*/ 1801 w 1806"/>
                  <a:gd name="T19" fmla="*/ 967 h 997"/>
                  <a:gd name="T20" fmla="*/ 1583 w 1806"/>
                  <a:gd name="T21" fmla="*/ 650 h 997"/>
                  <a:gd name="T22" fmla="*/ 1195 w 1806"/>
                  <a:gd name="T23" fmla="*/ 584 h 997"/>
                  <a:gd name="T24" fmla="*/ 1195 w 1806"/>
                  <a:gd name="T25" fmla="*/ 584 h 997"/>
                  <a:gd name="T26" fmla="*/ 1287 w 1806"/>
                  <a:gd name="T27" fmla="*/ 732 h 997"/>
                  <a:gd name="T28" fmla="*/ 1145 w 1806"/>
                  <a:gd name="T29" fmla="*/ 732 h 997"/>
                  <a:gd name="T30" fmla="*/ 973 w 1806"/>
                  <a:gd name="T31" fmla="*/ 997 h 997"/>
                  <a:gd name="T32" fmla="*/ 1780 w 1806"/>
                  <a:gd name="T33" fmla="*/ 997 h 997"/>
                  <a:gd name="T34" fmla="*/ 1801 w 1806"/>
                  <a:gd name="T35" fmla="*/ 967 h 997"/>
                  <a:gd name="T36" fmla="*/ 1300 w 1806"/>
                  <a:gd name="T37" fmla="*/ 61 h 997"/>
                  <a:gd name="T38" fmla="*/ 1300 w 1806"/>
                  <a:gd name="T39" fmla="*/ 61 h 997"/>
                  <a:gd name="T40" fmla="*/ 1262 w 1806"/>
                  <a:gd name="T41" fmla="*/ 99 h 997"/>
                  <a:gd name="T42" fmla="*/ 1252 w 1806"/>
                  <a:gd name="T43" fmla="*/ 111 h 997"/>
                  <a:gd name="T44" fmla="*/ 1116 w 1806"/>
                  <a:gd name="T45" fmla="*/ 396 h 997"/>
                  <a:gd name="T46" fmla="*/ 904 w 1806"/>
                  <a:gd name="T47" fmla="*/ 502 h 997"/>
                  <a:gd name="T48" fmla="*/ 691 w 1806"/>
                  <a:gd name="T49" fmla="*/ 396 h 997"/>
                  <a:gd name="T50" fmla="*/ 556 w 1806"/>
                  <a:gd name="T51" fmla="*/ 111 h 997"/>
                  <a:gd name="T52" fmla="*/ 542 w 1806"/>
                  <a:gd name="T53" fmla="*/ 98 h 997"/>
                  <a:gd name="T54" fmla="*/ 497 w 1806"/>
                  <a:gd name="T55" fmla="*/ 26 h 997"/>
                  <a:gd name="T56" fmla="*/ 495 w 1806"/>
                  <a:gd name="T57" fmla="*/ 26 h 997"/>
                  <a:gd name="T58" fmla="*/ 487 w 1806"/>
                  <a:gd name="T59" fmla="*/ 26 h 997"/>
                  <a:gd name="T60" fmla="*/ 477 w 1806"/>
                  <a:gd name="T61" fmla="*/ 24 h 997"/>
                  <a:gd name="T62" fmla="*/ 474 w 1806"/>
                  <a:gd name="T63" fmla="*/ 23 h 997"/>
                  <a:gd name="T64" fmla="*/ 463 w 1806"/>
                  <a:gd name="T65" fmla="*/ 18 h 997"/>
                  <a:gd name="T66" fmla="*/ 456 w 1806"/>
                  <a:gd name="T67" fmla="*/ 11 h 997"/>
                  <a:gd name="T68" fmla="*/ 450 w 1806"/>
                  <a:gd name="T69" fmla="*/ 0 h 997"/>
                  <a:gd name="T70" fmla="*/ 518 w 1806"/>
                  <a:gd name="T71" fmla="*/ 135 h 997"/>
                  <a:gd name="T72" fmla="*/ 662 w 1806"/>
                  <a:gd name="T73" fmla="*/ 429 h 997"/>
                  <a:gd name="T74" fmla="*/ 666 w 1806"/>
                  <a:gd name="T75" fmla="*/ 432 h 997"/>
                  <a:gd name="T76" fmla="*/ 666 w 1806"/>
                  <a:gd name="T77" fmla="*/ 572 h 997"/>
                  <a:gd name="T78" fmla="*/ 710 w 1806"/>
                  <a:gd name="T79" fmla="*/ 609 h 997"/>
                  <a:gd name="T80" fmla="*/ 710 w 1806"/>
                  <a:gd name="T81" fmla="*/ 465 h 997"/>
                  <a:gd name="T82" fmla="*/ 904 w 1806"/>
                  <a:gd name="T83" fmla="*/ 546 h 997"/>
                  <a:gd name="T84" fmla="*/ 1096 w 1806"/>
                  <a:gd name="T85" fmla="*/ 466 h 997"/>
                  <a:gd name="T86" fmla="*/ 1096 w 1806"/>
                  <a:gd name="T87" fmla="*/ 608 h 997"/>
                  <a:gd name="T88" fmla="*/ 1140 w 1806"/>
                  <a:gd name="T89" fmla="*/ 572 h 997"/>
                  <a:gd name="T90" fmla="*/ 1140 w 1806"/>
                  <a:gd name="T91" fmla="*/ 433 h 997"/>
                  <a:gd name="T92" fmla="*/ 1145 w 1806"/>
                  <a:gd name="T93" fmla="*/ 429 h 997"/>
                  <a:gd name="T94" fmla="*/ 1290 w 1806"/>
                  <a:gd name="T95" fmla="*/ 134 h 997"/>
                  <a:gd name="T96" fmla="*/ 1353 w 1806"/>
                  <a:gd name="T97" fmla="*/ 42 h 997"/>
                  <a:gd name="T98" fmla="*/ 1300 w 1806"/>
                  <a:gd name="T99"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6" h="997">
                    <a:moveTo>
                      <a:pt x="833" y="997"/>
                    </a:move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cubicBezTo>
                      <a:pt x="519" y="732"/>
                      <a:pt x="519" y="732"/>
                      <a:pt x="519" y="732"/>
                    </a:cubicBezTo>
                    <a:cubicBezTo>
                      <a:pt x="661" y="732"/>
                      <a:pt x="661" y="732"/>
                      <a:pt x="661" y="732"/>
                    </a:cubicBezTo>
                    <a:lnTo>
                      <a:pt x="833" y="997"/>
                    </a:lnTo>
                    <a:close/>
                    <a:moveTo>
                      <a:pt x="1801" y="967"/>
                    </a:moveTo>
                    <a:cubicBezTo>
                      <a:pt x="1773" y="893"/>
                      <a:pt x="1693" y="700"/>
                      <a:pt x="1583" y="650"/>
                    </a:cubicBezTo>
                    <a:cubicBezTo>
                      <a:pt x="1447" y="587"/>
                      <a:pt x="1195" y="584"/>
                      <a:pt x="1195" y="584"/>
                    </a:cubicBezTo>
                    <a:cubicBezTo>
                      <a:pt x="1195" y="584"/>
                      <a:pt x="1195" y="584"/>
                      <a:pt x="1195" y="584"/>
                    </a:cubicBezTo>
                    <a:cubicBezTo>
                      <a:pt x="1287" y="732"/>
                      <a:pt x="1287" y="732"/>
                      <a:pt x="1287" y="732"/>
                    </a:cubicBezTo>
                    <a:cubicBezTo>
                      <a:pt x="1145" y="732"/>
                      <a:pt x="1145" y="732"/>
                      <a:pt x="1145" y="732"/>
                    </a:cubicBezTo>
                    <a:cubicBezTo>
                      <a:pt x="973" y="997"/>
                      <a:pt x="973" y="997"/>
                      <a:pt x="973" y="997"/>
                    </a:cubicBezTo>
                    <a:cubicBezTo>
                      <a:pt x="1780" y="997"/>
                      <a:pt x="1780" y="997"/>
                      <a:pt x="1780" y="997"/>
                    </a:cubicBezTo>
                    <a:cubicBezTo>
                      <a:pt x="1796" y="997"/>
                      <a:pt x="1806" y="981"/>
                      <a:pt x="1801" y="967"/>
                    </a:cubicBezTo>
                    <a:close/>
                    <a:moveTo>
                      <a:pt x="1300" y="61"/>
                    </a:moveTo>
                    <a:cubicBezTo>
                      <a:pt x="1300" y="61"/>
                      <a:pt x="1300" y="61"/>
                      <a:pt x="1300" y="61"/>
                    </a:cubicBez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93" y="26"/>
                      <a:pt x="490" y="26"/>
                      <a:pt x="487" y="26"/>
                    </a:cubicBezTo>
                    <a:cubicBezTo>
                      <a:pt x="484" y="26"/>
                      <a:pt x="480" y="25"/>
                      <a:pt x="477" y="24"/>
                    </a:cubicBezTo>
                    <a:cubicBezTo>
                      <a:pt x="476" y="24"/>
                      <a:pt x="475" y="24"/>
                      <a:pt x="474" y="23"/>
                    </a:cubicBezTo>
                    <a:cubicBezTo>
                      <a:pt x="470" y="22"/>
                      <a:pt x="467" y="20"/>
                      <a:pt x="463" y="18"/>
                    </a:cubicBezTo>
                    <a:cubicBezTo>
                      <a:pt x="461" y="16"/>
                      <a:pt x="458" y="14"/>
                      <a:pt x="456" y="11"/>
                    </a:cubicBezTo>
                    <a:cubicBezTo>
                      <a:pt x="454" y="7"/>
                      <a:pt x="452" y="3"/>
                      <a:pt x="450" y="0"/>
                    </a:cubicBezTo>
                    <a:cubicBezTo>
                      <a:pt x="451" y="32"/>
                      <a:pt x="464" y="108"/>
                      <a:pt x="518" y="135"/>
                    </a:cubicBezTo>
                    <a:cubicBezTo>
                      <a:pt x="541" y="194"/>
                      <a:pt x="621" y="393"/>
                      <a:pt x="662" y="429"/>
                    </a:cubicBezTo>
                    <a:cubicBezTo>
                      <a:pt x="663" y="430"/>
                      <a:pt x="665" y="431"/>
                      <a:pt x="666" y="432"/>
                    </a:cubicBezTo>
                    <a:cubicBezTo>
                      <a:pt x="666" y="572"/>
                      <a:pt x="666" y="572"/>
                      <a:pt x="666" y="572"/>
                    </a:cubicBezTo>
                    <a:cubicBezTo>
                      <a:pt x="678" y="582"/>
                      <a:pt x="693" y="594"/>
                      <a:pt x="710" y="609"/>
                    </a:cubicBezTo>
                    <a:cubicBezTo>
                      <a:pt x="710" y="465"/>
                      <a:pt x="710" y="465"/>
                      <a:pt x="710" y="465"/>
                    </a:cubicBezTo>
                    <a:cubicBezTo>
                      <a:pt x="766" y="504"/>
                      <a:pt x="847" y="546"/>
                      <a:pt x="904" y="546"/>
                    </a:cubicBezTo>
                    <a:cubicBezTo>
                      <a:pt x="960" y="546"/>
                      <a:pt x="1040" y="504"/>
                      <a:pt x="1096" y="466"/>
                    </a:cubicBezTo>
                    <a:cubicBezTo>
                      <a:pt x="1096" y="608"/>
                      <a:pt x="1096" y="608"/>
                      <a:pt x="1096" y="608"/>
                    </a:cubicBezTo>
                    <a:cubicBezTo>
                      <a:pt x="1113" y="594"/>
                      <a:pt x="1128" y="582"/>
                      <a:pt x="1140" y="572"/>
                    </a:cubicBezTo>
                    <a:cubicBezTo>
                      <a:pt x="1140" y="433"/>
                      <a:pt x="1140" y="433"/>
                      <a:pt x="1140" y="433"/>
                    </a:cubicBezTo>
                    <a:cubicBezTo>
                      <a:pt x="1142" y="432"/>
                      <a:pt x="1144" y="430"/>
                      <a:pt x="1145" y="429"/>
                    </a:cubicBezTo>
                    <a:cubicBezTo>
                      <a:pt x="1186" y="392"/>
                      <a:pt x="1267" y="191"/>
                      <a:pt x="1290" y="134"/>
                    </a:cubicBezTo>
                    <a:cubicBezTo>
                      <a:pt x="1332" y="109"/>
                      <a:pt x="1347" y="68"/>
                      <a:pt x="1353" y="42"/>
                    </a:cubicBezTo>
                    <a:cubicBezTo>
                      <a:pt x="1337" y="50"/>
                      <a:pt x="1319" y="57"/>
                      <a:pt x="1300" y="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grpSp>
          <p:nvGrpSpPr>
            <p:cNvPr id="16" name="Group 15"/>
            <p:cNvGrpSpPr>
              <a:grpSpLocks noChangeAspect="1"/>
            </p:cNvGrpSpPr>
            <p:nvPr/>
          </p:nvGrpSpPr>
          <p:grpSpPr>
            <a:xfrm>
              <a:off x="3197576" y="2681344"/>
              <a:ext cx="1644396" cy="1645920"/>
              <a:chOff x="5273802" y="2606040"/>
              <a:chExt cx="1644396" cy="1645920"/>
            </a:xfrm>
          </p:grpSpPr>
          <p:sp>
            <p:nvSpPr>
              <p:cNvPr id="58" name="AutoShape 13">
                <a:extLst>
                  <a:ext uri="{FF2B5EF4-FFF2-40B4-BE49-F238E27FC236}">
                    <a16:creationId xmlns:a16="http://schemas.microsoft.com/office/drawing/2014/main" xmlns="" id="{3C3D9D18-6789-4A00-8831-91BF38F976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nvGrpSpPr>
              <p:cNvPr id="59" name="Group 58"/>
              <p:cNvGrpSpPr/>
              <p:nvPr/>
            </p:nvGrpSpPr>
            <p:grpSpPr>
              <a:xfrm>
                <a:off x="5452110" y="2803779"/>
                <a:ext cx="1288923" cy="1200912"/>
                <a:chOff x="5452110" y="2803779"/>
                <a:chExt cx="1288923" cy="1200912"/>
              </a:xfrm>
            </p:grpSpPr>
            <p:sp>
              <p:nvSpPr>
                <p:cNvPr id="60" name="Freeform 15">
                  <a:extLst>
                    <a:ext uri="{FF2B5EF4-FFF2-40B4-BE49-F238E27FC236}">
                      <a16:creationId xmlns:a16="http://schemas.microsoft.com/office/drawing/2014/main" xmlns="" id="{0F53DE35-7F5E-48B5-B9DD-D84DD59FFC19}"/>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sp>
              <p:nvSpPr>
                <p:cNvPr id="61" name="Freeform 16">
                  <a:extLst>
                    <a:ext uri="{FF2B5EF4-FFF2-40B4-BE49-F238E27FC236}">
                      <a16:creationId xmlns:a16="http://schemas.microsoft.com/office/drawing/2014/main" xmlns="" id="{D033E5D7-D092-40EC-9EC7-B6BB71F5CC61}"/>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grpSp>
        <p:grpSp>
          <p:nvGrpSpPr>
            <p:cNvPr id="17" name="bcgIcons_Chocolate">
              <a:extLst>
                <a:ext uri="{FF2B5EF4-FFF2-40B4-BE49-F238E27FC236}">
                  <a16:creationId xmlns:a16="http://schemas.microsoft.com/office/drawing/2014/main" xmlns="" id="{9B5B4718-A25B-4B58-903A-8E24BC93E494}"/>
                </a:ext>
              </a:extLst>
            </p:cNvPr>
            <p:cNvGrpSpPr>
              <a:grpSpLocks noChangeAspect="1"/>
            </p:cNvGrpSpPr>
            <p:nvPr/>
          </p:nvGrpSpPr>
          <p:grpSpPr bwMode="auto">
            <a:xfrm>
              <a:off x="10075995" y="3256194"/>
              <a:ext cx="1199050" cy="1200161"/>
              <a:chOff x="1682" y="0"/>
              <a:chExt cx="4316" cy="4320"/>
            </a:xfrm>
          </p:grpSpPr>
          <p:sp>
            <p:nvSpPr>
              <p:cNvPr id="55" name="AutoShape 32">
                <a:extLst>
                  <a:ext uri="{FF2B5EF4-FFF2-40B4-BE49-F238E27FC236}">
                    <a16:creationId xmlns:a16="http://schemas.microsoft.com/office/drawing/2014/main" xmlns="" id="{F8100D84-46F4-4B21-9F7A-BBCD28650C6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sp>
            <p:nvSpPr>
              <p:cNvPr id="56" name="Freeform 34">
                <a:extLst>
                  <a:ext uri="{FF2B5EF4-FFF2-40B4-BE49-F238E27FC236}">
                    <a16:creationId xmlns:a16="http://schemas.microsoft.com/office/drawing/2014/main" xmlns="" id="{3DB03C5D-DC65-418F-8AB4-503EE131C16D}"/>
                  </a:ext>
                </a:extLst>
              </p:cNvPr>
              <p:cNvSpPr>
                <a:spLocks noEditPoints="1"/>
              </p:cNvSpPr>
              <p:nvPr/>
            </p:nvSpPr>
            <p:spPr bwMode="auto">
              <a:xfrm>
                <a:off x="2238" y="444"/>
                <a:ext cx="3119" cy="3428"/>
              </a:xfrm>
              <a:custGeom>
                <a:avLst/>
                <a:gdLst>
                  <a:gd name="T0" fmla="*/ 1491 w 1665"/>
                  <a:gd name="T1" fmla="*/ 943 h 1828"/>
                  <a:gd name="T2" fmla="*/ 1491 w 1665"/>
                  <a:gd name="T3" fmla="*/ 1806 h 1828"/>
                  <a:gd name="T4" fmla="*/ 1469 w 1665"/>
                  <a:gd name="T5" fmla="*/ 1828 h 1828"/>
                  <a:gd name="T6" fmla="*/ 239 w 1665"/>
                  <a:gd name="T7" fmla="*/ 1828 h 1828"/>
                  <a:gd name="T8" fmla="*/ 217 w 1665"/>
                  <a:gd name="T9" fmla="*/ 1806 h 1828"/>
                  <a:gd name="T10" fmla="*/ 217 w 1665"/>
                  <a:gd name="T11" fmla="*/ 943 h 1828"/>
                  <a:gd name="T12" fmla="*/ 261 w 1665"/>
                  <a:gd name="T13" fmla="*/ 943 h 1828"/>
                  <a:gd name="T14" fmla="*/ 261 w 1665"/>
                  <a:gd name="T15" fmla="*/ 1784 h 1828"/>
                  <a:gd name="T16" fmla="*/ 1447 w 1665"/>
                  <a:gd name="T17" fmla="*/ 1784 h 1828"/>
                  <a:gd name="T18" fmla="*/ 1447 w 1665"/>
                  <a:gd name="T19" fmla="*/ 943 h 1828"/>
                  <a:gd name="T20" fmla="*/ 1491 w 1665"/>
                  <a:gd name="T21" fmla="*/ 943 h 1828"/>
                  <a:gd name="T22" fmla="*/ 1662 w 1665"/>
                  <a:gd name="T23" fmla="*/ 887 h 1828"/>
                  <a:gd name="T24" fmla="*/ 1642 w 1665"/>
                  <a:gd name="T25" fmla="*/ 899 h 1828"/>
                  <a:gd name="T26" fmla="*/ 1047 w 1665"/>
                  <a:gd name="T27" fmla="*/ 899 h 1828"/>
                  <a:gd name="T28" fmla="*/ 23 w 1665"/>
                  <a:gd name="T29" fmla="*/ 899 h 1828"/>
                  <a:gd name="T30" fmla="*/ 4 w 1665"/>
                  <a:gd name="T31" fmla="*/ 888 h 1828"/>
                  <a:gd name="T32" fmla="*/ 5 w 1665"/>
                  <a:gd name="T33" fmla="*/ 866 h 1828"/>
                  <a:gd name="T34" fmla="*/ 213 w 1665"/>
                  <a:gd name="T35" fmla="*/ 522 h 1828"/>
                  <a:gd name="T36" fmla="*/ 217 w 1665"/>
                  <a:gd name="T37" fmla="*/ 517 h 1828"/>
                  <a:gd name="T38" fmla="*/ 217 w 1665"/>
                  <a:gd name="T39" fmla="*/ 22 h 1828"/>
                  <a:gd name="T40" fmla="*/ 239 w 1665"/>
                  <a:gd name="T41" fmla="*/ 0 h 1828"/>
                  <a:gd name="T42" fmla="*/ 1142 w 1665"/>
                  <a:gd name="T43" fmla="*/ 0 h 1828"/>
                  <a:gd name="T44" fmla="*/ 1159 w 1665"/>
                  <a:gd name="T45" fmla="*/ 8 h 1828"/>
                  <a:gd name="T46" fmla="*/ 1164 w 1665"/>
                  <a:gd name="T47" fmla="*/ 27 h 1828"/>
                  <a:gd name="T48" fmla="*/ 1162 w 1665"/>
                  <a:gd name="T49" fmla="*/ 42 h 1828"/>
                  <a:gd name="T50" fmla="*/ 1186 w 1665"/>
                  <a:gd name="T51" fmla="*/ 92 h 1828"/>
                  <a:gd name="T52" fmla="*/ 1189 w 1665"/>
                  <a:gd name="T53" fmla="*/ 122 h 1828"/>
                  <a:gd name="T54" fmla="*/ 1169 w 1665"/>
                  <a:gd name="T55" fmla="*/ 181 h 1828"/>
                  <a:gd name="T56" fmla="*/ 1256 w 1665"/>
                  <a:gd name="T57" fmla="*/ 278 h 1828"/>
                  <a:gd name="T58" fmla="*/ 1271 w 1665"/>
                  <a:gd name="T59" fmla="*/ 286 h 1828"/>
                  <a:gd name="T60" fmla="*/ 1276 w 1665"/>
                  <a:gd name="T61" fmla="*/ 303 h 1828"/>
                  <a:gd name="T62" fmla="*/ 1275 w 1665"/>
                  <a:gd name="T63" fmla="*/ 318 h 1828"/>
                  <a:gd name="T64" fmla="*/ 1372 w 1665"/>
                  <a:gd name="T65" fmla="*/ 416 h 1828"/>
                  <a:gd name="T66" fmla="*/ 1420 w 1665"/>
                  <a:gd name="T67" fmla="*/ 403 h 1828"/>
                  <a:gd name="T68" fmla="*/ 1439 w 1665"/>
                  <a:gd name="T69" fmla="*/ 402 h 1828"/>
                  <a:gd name="T70" fmla="*/ 1452 w 1665"/>
                  <a:gd name="T71" fmla="*/ 416 h 1828"/>
                  <a:gd name="T72" fmla="*/ 1480 w 1665"/>
                  <a:gd name="T73" fmla="*/ 454 h 1828"/>
                  <a:gd name="T74" fmla="*/ 1491 w 1665"/>
                  <a:gd name="T75" fmla="*/ 472 h 1828"/>
                  <a:gd name="T76" fmla="*/ 1491 w 1665"/>
                  <a:gd name="T77" fmla="*/ 627 h 1828"/>
                  <a:gd name="T78" fmla="*/ 1498 w 1665"/>
                  <a:gd name="T79" fmla="*/ 634 h 1828"/>
                  <a:gd name="T80" fmla="*/ 1660 w 1665"/>
                  <a:gd name="T81" fmla="*/ 864 h 1828"/>
                  <a:gd name="T82" fmla="*/ 1662 w 1665"/>
                  <a:gd name="T83" fmla="*/ 887 h 1828"/>
                  <a:gd name="T84" fmla="*/ 261 w 1665"/>
                  <a:gd name="T85" fmla="*/ 44 h 1828"/>
                  <a:gd name="T86" fmla="*/ 261 w 1665"/>
                  <a:gd name="T87" fmla="*/ 521 h 1828"/>
                  <a:gd name="T88" fmla="*/ 1046 w 1665"/>
                  <a:gd name="T89" fmla="*/ 853 h 1828"/>
                  <a:gd name="T90" fmla="*/ 1447 w 1665"/>
                  <a:gd name="T91" fmla="*/ 640 h 1828"/>
                  <a:gd name="T92" fmla="*/ 1447 w 1665"/>
                  <a:gd name="T93" fmla="*/ 484 h 1828"/>
                  <a:gd name="T94" fmla="*/ 1420 w 1665"/>
                  <a:gd name="T95" fmla="*/ 452 h 1828"/>
                  <a:gd name="T96" fmla="*/ 1372 w 1665"/>
                  <a:gd name="T97" fmla="*/ 460 h 1828"/>
                  <a:gd name="T98" fmla="*/ 1231 w 1665"/>
                  <a:gd name="T99" fmla="*/ 318 h 1828"/>
                  <a:gd name="T100" fmla="*/ 1231 w 1665"/>
                  <a:gd name="T101" fmla="*/ 318 h 1828"/>
                  <a:gd name="T102" fmla="*/ 1125 w 1665"/>
                  <a:gd name="T103" fmla="*/ 181 h 1828"/>
                  <a:gd name="T104" fmla="*/ 1143 w 1665"/>
                  <a:gd name="T105" fmla="*/ 112 h 1828"/>
                  <a:gd name="T106" fmla="*/ 1118 w 1665"/>
                  <a:gd name="T107" fmla="*/ 44 h 1828"/>
                  <a:gd name="T108" fmla="*/ 261 w 1665"/>
                  <a:gd name="T109" fmla="*/ 44 h 1828"/>
                  <a:gd name="T110" fmla="*/ 939 w 1665"/>
                  <a:gd name="T111" fmla="*/ 855 h 1828"/>
                  <a:gd name="T112" fmla="*/ 241 w 1665"/>
                  <a:gd name="T113" fmla="*/ 561 h 1828"/>
                  <a:gd name="T114" fmla="*/ 62 w 1665"/>
                  <a:gd name="T115" fmla="*/ 855 h 1828"/>
                  <a:gd name="T116" fmla="*/ 939 w 1665"/>
                  <a:gd name="T117" fmla="*/ 855 h 1828"/>
                  <a:gd name="T118" fmla="*/ 1600 w 1665"/>
                  <a:gd name="T119" fmla="*/ 855 h 1828"/>
                  <a:gd name="T120" fmla="*/ 1474 w 1665"/>
                  <a:gd name="T121" fmla="*/ 675 h 1828"/>
                  <a:gd name="T122" fmla="*/ 1136 w 1665"/>
                  <a:gd name="T123" fmla="*/ 855 h 1828"/>
                  <a:gd name="T124" fmla="*/ 1600 w 1665"/>
                  <a:gd name="T125" fmla="*/ 85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5" h="1828">
                    <a:moveTo>
                      <a:pt x="1491" y="943"/>
                    </a:moveTo>
                    <a:cubicBezTo>
                      <a:pt x="1491" y="1806"/>
                      <a:pt x="1491" y="1806"/>
                      <a:pt x="1491" y="1806"/>
                    </a:cubicBezTo>
                    <a:cubicBezTo>
                      <a:pt x="1491" y="1818"/>
                      <a:pt x="1481" y="1828"/>
                      <a:pt x="1469" y="1828"/>
                    </a:cubicBezTo>
                    <a:cubicBezTo>
                      <a:pt x="239" y="1828"/>
                      <a:pt x="239" y="1828"/>
                      <a:pt x="239" y="1828"/>
                    </a:cubicBezTo>
                    <a:cubicBezTo>
                      <a:pt x="227" y="1828"/>
                      <a:pt x="217" y="1818"/>
                      <a:pt x="217" y="1806"/>
                    </a:cubicBezTo>
                    <a:cubicBezTo>
                      <a:pt x="217" y="943"/>
                      <a:pt x="217" y="943"/>
                      <a:pt x="217" y="943"/>
                    </a:cubicBezTo>
                    <a:cubicBezTo>
                      <a:pt x="261" y="943"/>
                      <a:pt x="261" y="943"/>
                      <a:pt x="261" y="943"/>
                    </a:cubicBezTo>
                    <a:cubicBezTo>
                      <a:pt x="261" y="1784"/>
                      <a:pt x="261" y="1784"/>
                      <a:pt x="261" y="1784"/>
                    </a:cubicBezTo>
                    <a:cubicBezTo>
                      <a:pt x="1447" y="1784"/>
                      <a:pt x="1447" y="1784"/>
                      <a:pt x="1447" y="1784"/>
                    </a:cubicBezTo>
                    <a:cubicBezTo>
                      <a:pt x="1447" y="943"/>
                      <a:pt x="1447" y="943"/>
                      <a:pt x="1447" y="943"/>
                    </a:cubicBezTo>
                    <a:lnTo>
                      <a:pt x="1491" y="943"/>
                    </a:lnTo>
                    <a:close/>
                    <a:moveTo>
                      <a:pt x="1662" y="887"/>
                    </a:moveTo>
                    <a:cubicBezTo>
                      <a:pt x="1658" y="894"/>
                      <a:pt x="1650" y="899"/>
                      <a:pt x="1642" y="899"/>
                    </a:cubicBezTo>
                    <a:cubicBezTo>
                      <a:pt x="1047" y="899"/>
                      <a:pt x="1047" y="899"/>
                      <a:pt x="1047" y="899"/>
                    </a:cubicBezTo>
                    <a:cubicBezTo>
                      <a:pt x="23" y="899"/>
                      <a:pt x="23" y="899"/>
                      <a:pt x="23" y="899"/>
                    </a:cubicBezTo>
                    <a:cubicBezTo>
                      <a:pt x="15" y="899"/>
                      <a:pt x="8" y="895"/>
                      <a:pt x="4" y="888"/>
                    </a:cubicBezTo>
                    <a:cubicBezTo>
                      <a:pt x="0" y="881"/>
                      <a:pt x="0" y="872"/>
                      <a:pt x="5" y="866"/>
                    </a:cubicBezTo>
                    <a:cubicBezTo>
                      <a:pt x="213" y="522"/>
                      <a:pt x="213" y="522"/>
                      <a:pt x="213" y="522"/>
                    </a:cubicBezTo>
                    <a:cubicBezTo>
                      <a:pt x="214" y="520"/>
                      <a:pt x="216" y="518"/>
                      <a:pt x="217" y="517"/>
                    </a:cubicBezTo>
                    <a:cubicBezTo>
                      <a:pt x="217" y="22"/>
                      <a:pt x="217" y="22"/>
                      <a:pt x="217" y="22"/>
                    </a:cubicBezTo>
                    <a:cubicBezTo>
                      <a:pt x="217" y="10"/>
                      <a:pt x="227" y="0"/>
                      <a:pt x="239" y="0"/>
                    </a:cubicBezTo>
                    <a:cubicBezTo>
                      <a:pt x="1142" y="0"/>
                      <a:pt x="1142" y="0"/>
                      <a:pt x="1142" y="0"/>
                    </a:cubicBezTo>
                    <a:cubicBezTo>
                      <a:pt x="1149" y="0"/>
                      <a:pt x="1155" y="3"/>
                      <a:pt x="1159" y="8"/>
                    </a:cubicBezTo>
                    <a:cubicBezTo>
                      <a:pt x="1164" y="14"/>
                      <a:pt x="1165" y="20"/>
                      <a:pt x="1164" y="27"/>
                    </a:cubicBezTo>
                    <a:cubicBezTo>
                      <a:pt x="1163" y="32"/>
                      <a:pt x="1162" y="37"/>
                      <a:pt x="1162" y="42"/>
                    </a:cubicBezTo>
                    <a:cubicBezTo>
                      <a:pt x="1162" y="61"/>
                      <a:pt x="1171" y="79"/>
                      <a:pt x="1186" y="92"/>
                    </a:cubicBezTo>
                    <a:cubicBezTo>
                      <a:pt x="1194" y="100"/>
                      <a:pt x="1196" y="113"/>
                      <a:pt x="1189" y="122"/>
                    </a:cubicBezTo>
                    <a:cubicBezTo>
                      <a:pt x="1176" y="139"/>
                      <a:pt x="1169" y="160"/>
                      <a:pt x="1169" y="181"/>
                    </a:cubicBezTo>
                    <a:cubicBezTo>
                      <a:pt x="1169" y="231"/>
                      <a:pt x="1206" y="273"/>
                      <a:pt x="1256" y="278"/>
                    </a:cubicBezTo>
                    <a:cubicBezTo>
                      <a:pt x="1262" y="278"/>
                      <a:pt x="1268" y="281"/>
                      <a:pt x="1271" y="286"/>
                    </a:cubicBezTo>
                    <a:cubicBezTo>
                      <a:pt x="1275" y="291"/>
                      <a:pt x="1277" y="297"/>
                      <a:pt x="1276" y="303"/>
                    </a:cubicBezTo>
                    <a:cubicBezTo>
                      <a:pt x="1275" y="308"/>
                      <a:pt x="1275" y="313"/>
                      <a:pt x="1275" y="318"/>
                    </a:cubicBezTo>
                    <a:cubicBezTo>
                      <a:pt x="1275" y="372"/>
                      <a:pt x="1318" y="416"/>
                      <a:pt x="1372" y="416"/>
                    </a:cubicBezTo>
                    <a:cubicBezTo>
                      <a:pt x="1389" y="416"/>
                      <a:pt x="1406" y="411"/>
                      <a:pt x="1420" y="403"/>
                    </a:cubicBezTo>
                    <a:cubicBezTo>
                      <a:pt x="1426" y="400"/>
                      <a:pt x="1433" y="399"/>
                      <a:pt x="1439" y="402"/>
                    </a:cubicBezTo>
                    <a:cubicBezTo>
                      <a:pt x="1446" y="404"/>
                      <a:pt x="1450" y="410"/>
                      <a:pt x="1452" y="416"/>
                    </a:cubicBezTo>
                    <a:cubicBezTo>
                      <a:pt x="1457" y="432"/>
                      <a:pt x="1467" y="445"/>
                      <a:pt x="1480" y="454"/>
                    </a:cubicBezTo>
                    <a:cubicBezTo>
                      <a:pt x="1487" y="458"/>
                      <a:pt x="1491" y="465"/>
                      <a:pt x="1491" y="472"/>
                    </a:cubicBezTo>
                    <a:cubicBezTo>
                      <a:pt x="1491" y="627"/>
                      <a:pt x="1491" y="627"/>
                      <a:pt x="1491" y="627"/>
                    </a:cubicBezTo>
                    <a:cubicBezTo>
                      <a:pt x="1494" y="629"/>
                      <a:pt x="1496" y="631"/>
                      <a:pt x="1498" y="634"/>
                    </a:cubicBezTo>
                    <a:cubicBezTo>
                      <a:pt x="1660" y="864"/>
                      <a:pt x="1660" y="864"/>
                      <a:pt x="1660" y="864"/>
                    </a:cubicBezTo>
                    <a:cubicBezTo>
                      <a:pt x="1665" y="871"/>
                      <a:pt x="1665" y="880"/>
                      <a:pt x="1662" y="887"/>
                    </a:cubicBezTo>
                    <a:close/>
                    <a:moveTo>
                      <a:pt x="261" y="44"/>
                    </a:moveTo>
                    <a:cubicBezTo>
                      <a:pt x="261" y="521"/>
                      <a:pt x="261" y="521"/>
                      <a:pt x="261" y="521"/>
                    </a:cubicBezTo>
                    <a:cubicBezTo>
                      <a:pt x="1046" y="853"/>
                      <a:pt x="1046" y="853"/>
                      <a:pt x="1046" y="853"/>
                    </a:cubicBezTo>
                    <a:cubicBezTo>
                      <a:pt x="1447" y="640"/>
                      <a:pt x="1447" y="640"/>
                      <a:pt x="1447" y="640"/>
                    </a:cubicBezTo>
                    <a:cubicBezTo>
                      <a:pt x="1447" y="484"/>
                      <a:pt x="1447" y="484"/>
                      <a:pt x="1447" y="484"/>
                    </a:cubicBezTo>
                    <a:cubicBezTo>
                      <a:pt x="1436" y="475"/>
                      <a:pt x="1426" y="464"/>
                      <a:pt x="1420" y="452"/>
                    </a:cubicBezTo>
                    <a:cubicBezTo>
                      <a:pt x="1404" y="457"/>
                      <a:pt x="1389" y="460"/>
                      <a:pt x="1372" y="460"/>
                    </a:cubicBezTo>
                    <a:cubicBezTo>
                      <a:pt x="1294" y="460"/>
                      <a:pt x="1231" y="396"/>
                      <a:pt x="1231" y="318"/>
                    </a:cubicBezTo>
                    <a:cubicBezTo>
                      <a:pt x="1231" y="318"/>
                      <a:pt x="1231" y="318"/>
                      <a:pt x="1231" y="318"/>
                    </a:cubicBezTo>
                    <a:cubicBezTo>
                      <a:pt x="1169" y="302"/>
                      <a:pt x="1125" y="246"/>
                      <a:pt x="1125" y="181"/>
                    </a:cubicBezTo>
                    <a:cubicBezTo>
                      <a:pt x="1125" y="156"/>
                      <a:pt x="1131" y="133"/>
                      <a:pt x="1143" y="112"/>
                    </a:cubicBezTo>
                    <a:cubicBezTo>
                      <a:pt x="1128" y="93"/>
                      <a:pt x="1119" y="69"/>
                      <a:pt x="1118" y="44"/>
                    </a:cubicBezTo>
                    <a:lnTo>
                      <a:pt x="261" y="44"/>
                    </a:lnTo>
                    <a:close/>
                    <a:moveTo>
                      <a:pt x="939" y="855"/>
                    </a:moveTo>
                    <a:cubicBezTo>
                      <a:pt x="241" y="561"/>
                      <a:pt x="241" y="561"/>
                      <a:pt x="241" y="561"/>
                    </a:cubicBezTo>
                    <a:cubicBezTo>
                      <a:pt x="62" y="855"/>
                      <a:pt x="62" y="855"/>
                      <a:pt x="62" y="855"/>
                    </a:cubicBezTo>
                    <a:lnTo>
                      <a:pt x="939" y="855"/>
                    </a:lnTo>
                    <a:close/>
                    <a:moveTo>
                      <a:pt x="1600" y="855"/>
                    </a:moveTo>
                    <a:cubicBezTo>
                      <a:pt x="1474" y="675"/>
                      <a:pt x="1474" y="675"/>
                      <a:pt x="1474" y="675"/>
                    </a:cubicBezTo>
                    <a:cubicBezTo>
                      <a:pt x="1136" y="855"/>
                      <a:pt x="1136" y="855"/>
                      <a:pt x="1136" y="855"/>
                    </a:cubicBezTo>
                    <a:lnTo>
                      <a:pt x="1600" y="8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sp>
            <p:nvSpPr>
              <p:cNvPr id="57" name="Freeform 35">
                <a:extLst>
                  <a:ext uri="{FF2B5EF4-FFF2-40B4-BE49-F238E27FC236}">
                    <a16:creationId xmlns:a16="http://schemas.microsoft.com/office/drawing/2014/main" xmlns="" id="{319170AE-8BAE-4A03-9BBB-EA736C410F5B}"/>
                  </a:ext>
                </a:extLst>
              </p:cNvPr>
              <p:cNvSpPr>
                <a:spLocks noEditPoints="1"/>
              </p:cNvSpPr>
              <p:nvPr/>
            </p:nvSpPr>
            <p:spPr bwMode="auto">
              <a:xfrm>
                <a:off x="2810" y="609"/>
                <a:ext cx="2057" cy="1343"/>
              </a:xfrm>
              <a:custGeom>
                <a:avLst/>
                <a:gdLst>
                  <a:gd name="T0" fmla="*/ 893 w 1098"/>
                  <a:gd name="T1" fmla="*/ 295 h 716"/>
                  <a:gd name="T2" fmla="*/ 581 w 1098"/>
                  <a:gd name="T3" fmla="*/ 295 h 716"/>
                  <a:gd name="T4" fmla="*/ 571 w 1098"/>
                  <a:gd name="T5" fmla="*/ 285 h 716"/>
                  <a:gd name="T6" fmla="*/ 571 w 1098"/>
                  <a:gd name="T7" fmla="*/ 10 h 716"/>
                  <a:gd name="T8" fmla="*/ 581 w 1098"/>
                  <a:gd name="T9" fmla="*/ 0 h 716"/>
                  <a:gd name="T10" fmla="*/ 776 w 1098"/>
                  <a:gd name="T11" fmla="*/ 0 h 716"/>
                  <a:gd name="T12" fmla="*/ 788 w 1098"/>
                  <a:gd name="T13" fmla="*/ 28 h 716"/>
                  <a:gd name="T14" fmla="*/ 776 w 1098"/>
                  <a:gd name="T15" fmla="*/ 93 h 716"/>
                  <a:gd name="T16" fmla="*/ 884 w 1098"/>
                  <a:gd name="T17" fmla="*/ 262 h 716"/>
                  <a:gd name="T18" fmla="*/ 893 w 1098"/>
                  <a:gd name="T19" fmla="*/ 295 h 716"/>
                  <a:gd name="T20" fmla="*/ 527 w 1098"/>
                  <a:gd name="T21" fmla="*/ 285 h 716"/>
                  <a:gd name="T22" fmla="*/ 527 w 1098"/>
                  <a:gd name="T23" fmla="*/ 10 h 716"/>
                  <a:gd name="T24" fmla="*/ 517 w 1098"/>
                  <a:gd name="T25" fmla="*/ 0 h 716"/>
                  <a:gd name="T26" fmla="*/ 10 w 1098"/>
                  <a:gd name="T27" fmla="*/ 0 h 716"/>
                  <a:gd name="T28" fmla="*/ 0 w 1098"/>
                  <a:gd name="T29" fmla="*/ 10 h 716"/>
                  <a:gd name="T30" fmla="*/ 0 w 1098"/>
                  <a:gd name="T31" fmla="*/ 285 h 716"/>
                  <a:gd name="T32" fmla="*/ 10 w 1098"/>
                  <a:gd name="T33" fmla="*/ 295 h 716"/>
                  <a:gd name="T34" fmla="*/ 517 w 1098"/>
                  <a:gd name="T35" fmla="*/ 295 h 716"/>
                  <a:gd name="T36" fmla="*/ 527 w 1098"/>
                  <a:gd name="T37" fmla="*/ 285 h 716"/>
                  <a:gd name="T38" fmla="*/ 742 w 1098"/>
                  <a:gd name="T39" fmla="*/ 715 h 716"/>
                  <a:gd name="T40" fmla="*/ 810 w 1098"/>
                  <a:gd name="T41" fmla="*/ 678 h 716"/>
                  <a:gd name="T42" fmla="*/ 650 w 1098"/>
                  <a:gd name="T43" fmla="*/ 678 h 716"/>
                  <a:gd name="T44" fmla="*/ 735 w 1098"/>
                  <a:gd name="T45" fmla="*/ 714 h 716"/>
                  <a:gd name="T46" fmla="*/ 739 w 1098"/>
                  <a:gd name="T47" fmla="*/ 716 h 716"/>
                  <a:gd name="T48" fmla="*/ 742 w 1098"/>
                  <a:gd name="T49" fmla="*/ 715 h 716"/>
                  <a:gd name="T50" fmla="*/ 527 w 1098"/>
                  <a:gd name="T51" fmla="*/ 626 h 716"/>
                  <a:gd name="T52" fmla="*/ 527 w 1098"/>
                  <a:gd name="T53" fmla="*/ 624 h 716"/>
                  <a:gd name="T54" fmla="*/ 527 w 1098"/>
                  <a:gd name="T55" fmla="*/ 349 h 716"/>
                  <a:gd name="T56" fmla="*/ 517 w 1098"/>
                  <a:gd name="T57" fmla="*/ 339 h 716"/>
                  <a:gd name="T58" fmla="*/ 10 w 1098"/>
                  <a:gd name="T59" fmla="*/ 339 h 716"/>
                  <a:gd name="T60" fmla="*/ 0 w 1098"/>
                  <a:gd name="T61" fmla="*/ 349 h 716"/>
                  <a:gd name="T62" fmla="*/ 0 w 1098"/>
                  <a:gd name="T63" fmla="*/ 404 h 716"/>
                  <a:gd name="T64" fmla="*/ 527 w 1098"/>
                  <a:gd name="T65" fmla="*/ 626 h 716"/>
                  <a:gd name="T66" fmla="*/ 1097 w 1098"/>
                  <a:gd name="T67" fmla="*/ 413 h 716"/>
                  <a:gd name="T68" fmla="*/ 1067 w 1098"/>
                  <a:gd name="T69" fmla="*/ 416 h 716"/>
                  <a:gd name="T70" fmla="*/ 917 w 1098"/>
                  <a:gd name="T71" fmla="*/ 339 h 716"/>
                  <a:gd name="T72" fmla="*/ 581 w 1098"/>
                  <a:gd name="T73" fmla="*/ 339 h 716"/>
                  <a:gd name="T74" fmla="*/ 571 w 1098"/>
                  <a:gd name="T75" fmla="*/ 349 h 716"/>
                  <a:gd name="T76" fmla="*/ 571 w 1098"/>
                  <a:gd name="T77" fmla="*/ 624 h 716"/>
                  <a:gd name="T78" fmla="*/ 581 w 1098"/>
                  <a:gd name="T79" fmla="*/ 634 h 716"/>
                  <a:gd name="T80" fmla="*/ 893 w 1098"/>
                  <a:gd name="T81" fmla="*/ 634 h 716"/>
                  <a:gd name="T82" fmla="*/ 1098 w 1098"/>
                  <a:gd name="T83" fmla="*/ 525 h 716"/>
                  <a:gd name="T84" fmla="*/ 1098 w 1098"/>
                  <a:gd name="T85" fmla="*/ 414 h 716"/>
                  <a:gd name="T86" fmla="*/ 1097 w 1098"/>
                  <a:gd name="T87" fmla="*/ 413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98" h="716">
                    <a:moveTo>
                      <a:pt x="893" y="295"/>
                    </a:moveTo>
                    <a:cubicBezTo>
                      <a:pt x="581" y="295"/>
                      <a:pt x="581" y="295"/>
                      <a:pt x="581" y="295"/>
                    </a:cubicBezTo>
                    <a:cubicBezTo>
                      <a:pt x="575" y="295"/>
                      <a:pt x="571" y="291"/>
                      <a:pt x="571" y="285"/>
                    </a:cubicBezTo>
                    <a:cubicBezTo>
                      <a:pt x="571" y="10"/>
                      <a:pt x="571" y="10"/>
                      <a:pt x="571" y="10"/>
                    </a:cubicBezTo>
                    <a:cubicBezTo>
                      <a:pt x="571" y="4"/>
                      <a:pt x="575" y="0"/>
                      <a:pt x="581" y="0"/>
                    </a:cubicBezTo>
                    <a:cubicBezTo>
                      <a:pt x="776" y="0"/>
                      <a:pt x="776" y="0"/>
                      <a:pt x="776" y="0"/>
                    </a:cubicBezTo>
                    <a:cubicBezTo>
                      <a:pt x="779" y="10"/>
                      <a:pt x="783" y="19"/>
                      <a:pt x="788" y="28"/>
                    </a:cubicBezTo>
                    <a:cubicBezTo>
                      <a:pt x="780" y="48"/>
                      <a:pt x="776" y="70"/>
                      <a:pt x="776" y="93"/>
                    </a:cubicBezTo>
                    <a:cubicBezTo>
                      <a:pt x="776" y="168"/>
                      <a:pt x="820" y="232"/>
                      <a:pt x="884" y="262"/>
                    </a:cubicBezTo>
                    <a:cubicBezTo>
                      <a:pt x="886" y="273"/>
                      <a:pt x="889" y="284"/>
                      <a:pt x="893" y="295"/>
                    </a:cubicBezTo>
                    <a:close/>
                    <a:moveTo>
                      <a:pt x="527" y="285"/>
                    </a:moveTo>
                    <a:cubicBezTo>
                      <a:pt x="527" y="10"/>
                      <a:pt x="527" y="10"/>
                      <a:pt x="527" y="10"/>
                    </a:cubicBezTo>
                    <a:cubicBezTo>
                      <a:pt x="527" y="4"/>
                      <a:pt x="523" y="0"/>
                      <a:pt x="517" y="0"/>
                    </a:cubicBezTo>
                    <a:cubicBezTo>
                      <a:pt x="10" y="0"/>
                      <a:pt x="10" y="0"/>
                      <a:pt x="10" y="0"/>
                    </a:cubicBezTo>
                    <a:cubicBezTo>
                      <a:pt x="5" y="0"/>
                      <a:pt x="0" y="4"/>
                      <a:pt x="0" y="10"/>
                    </a:cubicBezTo>
                    <a:cubicBezTo>
                      <a:pt x="0" y="285"/>
                      <a:pt x="0" y="285"/>
                      <a:pt x="0" y="285"/>
                    </a:cubicBezTo>
                    <a:cubicBezTo>
                      <a:pt x="0" y="291"/>
                      <a:pt x="5" y="295"/>
                      <a:pt x="10" y="295"/>
                    </a:cubicBezTo>
                    <a:cubicBezTo>
                      <a:pt x="517" y="295"/>
                      <a:pt x="517" y="295"/>
                      <a:pt x="517" y="295"/>
                    </a:cubicBezTo>
                    <a:cubicBezTo>
                      <a:pt x="523" y="295"/>
                      <a:pt x="527" y="291"/>
                      <a:pt x="527" y="285"/>
                    </a:cubicBezTo>
                    <a:close/>
                    <a:moveTo>
                      <a:pt x="742" y="715"/>
                    </a:moveTo>
                    <a:cubicBezTo>
                      <a:pt x="810" y="678"/>
                      <a:pt x="810" y="678"/>
                      <a:pt x="810" y="678"/>
                    </a:cubicBezTo>
                    <a:cubicBezTo>
                      <a:pt x="650" y="678"/>
                      <a:pt x="650" y="678"/>
                      <a:pt x="650" y="678"/>
                    </a:cubicBezTo>
                    <a:cubicBezTo>
                      <a:pt x="735" y="714"/>
                      <a:pt x="735" y="714"/>
                      <a:pt x="735" y="714"/>
                    </a:cubicBezTo>
                    <a:cubicBezTo>
                      <a:pt x="736" y="715"/>
                      <a:pt x="738" y="715"/>
                      <a:pt x="739" y="716"/>
                    </a:cubicBezTo>
                    <a:cubicBezTo>
                      <a:pt x="740" y="716"/>
                      <a:pt x="741" y="715"/>
                      <a:pt x="742" y="715"/>
                    </a:cubicBezTo>
                    <a:close/>
                    <a:moveTo>
                      <a:pt x="527" y="626"/>
                    </a:moveTo>
                    <a:cubicBezTo>
                      <a:pt x="527" y="626"/>
                      <a:pt x="527" y="625"/>
                      <a:pt x="527" y="624"/>
                    </a:cubicBezTo>
                    <a:cubicBezTo>
                      <a:pt x="527" y="349"/>
                      <a:pt x="527" y="349"/>
                      <a:pt x="527" y="349"/>
                    </a:cubicBezTo>
                    <a:cubicBezTo>
                      <a:pt x="527" y="344"/>
                      <a:pt x="523" y="339"/>
                      <a:pt x="517" y="339"/>
                    </a:cubicBezTo>
                    <a:cubicBezTo>
                      <a:pt x="10" y="339"/>
                      <a:pt x="10" y="339"/>
                      <a:pt x="10" y="339"/>
                    </a:cubicBezTo>
                    <a:cubicBezTo>
                      <a:pt x="5" y="339"/>
                      <a:pt x="0" y="344"/>
                      <a:pt x="0" y="349"/>
                    </a:cubicBezTo>
                    <a:cubicBezTo>
                      <a:pt x="0" y="404"/>
                      <a:pt x="0" y="404"/>
                      <a:pt x="0" y="404"/>
                    </a:cubicBezTo>
                    <a:lnTo>
                      <a:pt x="527" y="626"/>
                    </a:lnTo>
                    <a:close/>
                    <a:moveTo>
                      <a:pt x="1097" y="413"/>
                    </a:moveTo>
                    <a:cubicBezTo>
                      <a:pt x="1087" y="415"/>
                      <a:pt x="1077" y="416"/>
                      <a:pt x="1067" y="416"/>
                    </a:cubicBezTo>
                    <a:cubicBezTo>
                      <a:pt x="1006" y="416"/>
                      <a:pt x="951" y="385"/>
                      <a:pt x="917" y="339"/>
                    </a:cubicBezTo>
                    <a:cubicBezTo>
                      <a:pt x="581" y="339"/>
                      <a:pt x="581" y="339"/>
                      <a:pt x="581" y="339"/>
                    </a:cubicBezTo>
                    <a:cubicBezTo>
                      <a:pt x="575" y="339"/>
                      <a:pt x="571" y="344"/>
                      <a:pt x="571" y="349"/>
                    </a:cubicBezTo>
                    <a:cubicBezTo>
                      <a:pt x="571" y="624"/>
                      <a:pt x="571" y="624"/>
                      <a:pt x="571" y="624"/>
                    </a:cubicBezTo>
                    <a:cubicBezTo>
                      <a:pt x="571" y="630"/>
                      <a:pt x="575" y="634"/>
                      <a:pt x="581" y="634"/>
                    </a:cubicBezTo>
                    <a:cubicBezTo>
                      <a:pt x="893" y="634"/>
                      <a:pt x="893" y="634"/>
                      <a:pt x="893" y="634"/>
                    </a:cubicBezTo>
                    <a:cubicBezTo>
                      <a:pt x="1098" y="525"/>
                      <a:pt x="1098" y="525"/>
                      <a:pt x="1098" y="525"/>
                    </a:cubicBezTo>
                    <a:cubicBezTo>
                      <a:pt x="1098" y="414"/>
                      <a:pt x="1098" y="414"/>
                      <a:pt x="1098" y="414"/>
                    </a:cubicBezTo>
                    <a:cubicBezTo>
                      <a:pt x="1097" y="414"/>
                      <a:pt x="1097" y="414"/>
                      <a:pt x="1097" y="4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grpSp>
          <p:nvGrpSpPr>
            <p:cNvPr id="18" name="Group 17"/>
            <p:cNvGrpSpPr>
              <a:grpSpLocks noChangeAspect="1"/>
            </p:cNvGrpSpPr>
            <p:nvPr/>
          </p:nvGrpSpPr>
          <p:grpSpPr>
            <a:xfrm>
              <a:off x="8782308" y="1456926"/>
              <a:ext cx="1200161" cy="1200161"/>
              <a:chOff x="5273039" y="2606040"/>
              <a:chExt cx="1645920" cy="1645920"/>
            </a:xfrm>
          </p:grpSpPr>
          <p:sp>
            <p:nvSpPr>
              <p:cNvPr id="51" name="AutoShape 19"/>
              <p:cNvSpPr>
                <a:spLocks noChangeAspect="1" noChangeArrowheads="1" noTextEdit="1"/>
              </p:cNvSpPr>
              <p:nvPr/>
            </p:nvSpPr>
            <p:spPr bwMode="auto">
              <a:xfrm>
                <a:off x="5273039"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nvGrpSpPr>
              <p:cNvPr id="52" name="Group 51"/>
              <p:cNvGrpSpPr/>
              <p:nvPr/>
            </p:nvGrpSpPr>
            <p:grpSpPr>
              <a:xfrm>
                <a:off x="5735332" y="2774418"/>
                <a:ext cx="721335" cy="1309164"/>
                <a:chOff x="5735332" y="2774418"/>
                <a:chExt cx="721335" cy="1309164"/>
              </a:xfrm>
            </p:grpSpPr>
            <p:sp>
              <p:nvSpPr>
                <p:cNvPr id="53" name="Freeform 21"/>
                <p:cNvSpPr>
                  <a:spLocks/>
                </p:cNvSpPr>
                <p:nvPr/>
              </p:nvSpPr>
              <p:spPr bwMode="auto">
                <a:xfrm>
                  <a:off x="5966478" y="2967705"/>
                  <a:ext cx="482218" cy="1002298"/>
                </a:xfrm>
                <a:custGeom>
                  <a:avLst/>
                  <a:gdLst>
                    <a:gd name="T0" fmla="*/ 186 w 673"/>
                    <a:gd name="T1" fmla="*/ 1402 h 1402"/>
                    <a:gd name="T2" fmla="*/ 566 w 673"/>
                    <a:gd name="T3" fmla="*/ 1402 h 1402"/>
                    <a:gd name="T4" fmla="*/ 540 w 673"/>
                    <a:gd name="T5" fmla="*/ 0 h 1402"/>
                    <a:gd name="T6" fmla="*/ 428 w 673"/>
                    <a:gd name="T7" fmla="*/ 0 h 1402"/>
                    <a:gd name="T8" fmla="*/ 186 w 673"/>
                    <a:gd name="T9" fmla="*/ 1402 h 1402"/>
                  </a:gdLst>
                  <a:ahLst/>
                  <a:cxnLst>
                    <a:cxn ang="0">
                      <a:pos x="T0" y="T1"/>
                    </a:cxn>
                    <a:cxn ang="0">
                      <a:pos x="T2" y="T3"/>
                    </a:cxn>
                    <a:cxn ang="0">
                      <a:pos x="T4" y="T5"/>
                    </a:cxn>
                    <a:cxn ang="0">
                      <a:pos x="T6" y="T7"/>
                    </a:cxn>
                    <a:cxn ang="0">
                      <a:pos x="T8" y="T9"/>
                    </a:cxn>
                  </a:cxnLst>
                  <a:rect l="0" t="0" r="r" b="b"/>
                  <a:pathLst>
                    <a:path w="673" h="1402">
                      <a:moveTo>
                        <a:pt x="186" y="1402"/>
                      </a:moveTo>
                      <a:cubicBezTo>
                        <a:pt x="566" y="1402"/>
                        <a:pt x="566" y="1402"/>
                        <a:pt x="566" y="1402"/>
                      </a:cubicBezTo>
                      <a:cubicBezTo>
                        <a:pt x="673" y="1084"/>
                        <a:pt x="176" y="554"/>
                        <a:pt x="540" y="0"/>
                      </a:cubicBezTo>
                      <a:cubicBezTo>
                        <a:pt x="428" y="0"/>
                        <a:pt x="428" y="0"/>
                        <a:pt x="428" y="0"/>
                      </a:cubicBezTo>
                      <a:cubicBezTo>
                        <a:pt x="0" y="564"/>
                        <a:pt x="489" y="981"/>
                        <a:pt x="186" y="1402"/>
                      </a:cubicBezTo>
                      <a:close/>
                    </a:path>
                  </a:pathLst>
                </a:custGeom>
                <a:solidFill>
                  <a:schemeClr val="tx2"/>
                </a:solidFill>
                <a:ln>
                  <a:noFill/>
                </a:ln>
                <a:extLst/>
              </p:spPr>
              <p:txBody>
                <a:bodyPr vert="horz" wrap="square" lIns="32918" tIns="16459" rIns="32918" bIns="16459" numCol="1" anchor="t" anchorCtr="0" compatLnSpc="1">
                  <a:prstTxWarp prst="textNoShape">
                    <a:avLst/>
                  </a:prstTxWarp>
                </a:bodyPr>
                <a:lstStyle/>
                <a:p>
                  <a:endParaRPr lang="en-US" dirty="0"/>
                </a:p>
              </p:txBody>
            </p:sp>
            <p:sp>
              <p:nvSpPr>
                <p:cNvPr id="54" name="Freeform 22"/>
                <p:cNvSpPr>
                  <a:spLocks noEditPoints="1"/>
                </p:cNvSpPr>
                <p:nvPr/>
              </p:nvSpPr>
              <p:spPr bwMode="auto">
                <a:xfrm>
                  <a:off x="5735332" y="2774418"/>
                  <a:ext cx="721335" cy="1309164"/>
                </a:xfrm>
                <a:custGeom>
                  <a:avLst/>
                  <a:gdLst>
                    <a:gd name="T0" fmla="*/ 952 w 1008"/>
                    <a:gd name="T1" fmla="*/ 182 h 1834"/>
                    <a:gd name="T2" fmla="*/ 952 w 1008"/>
                    <a:gd name="T3" fmla="*/ 145 h 1834"/>
                    <a:gd name="T4" fmla="*/ 961 w 1008"/>
                    <a:gd name="T5" fmla="*/ 144 h 1834"/>
                    <a:gd name="T6" fmla="*/ 983 w 1008"/>
                    <a:gd name="T7" fmla="*/ 94 h 1834"/>
                    <a:gd name="T8" fmla="*/ 910 w 1008"/>
                    <a:gd name="T9" fmla="*/ 72 h 1834"/>
                    <a:gd name="T10" fmla="*/ 866 w 1008"/>
                    <a:gd name="T11" fmla="*/ 0 h 1834"/>
                    <a:gd name="T12" fmla="*/ 586 w 1008"/>
                    <a:gd name="T13" fmla="*/ 44 h 1834"/>
                    <a:gd name="T14" fmla="*/ 56 w 1008"/>
                    <a:gd name="T15" fmla="*/ 72 h 1834"/>
                    <a:gd name="T16" fmla="*/ 33 w 1008"/>
                    <a:gd name="T17" fmla="*/ 122 h 1834"/>
                    <a:gd name="T18" fmla="*/ 65 w 1008"/>
                    <a:gd name="T19" fmla="*/ 144 h 1834"/>
                    <a:gd name="T20" fmla="*/ 65 w 1008"/>
                    <a:gd name="T21" fmla="*/ 181 h 1834"/>
                    <a:gd name="T22" fmla="*/ 44 w 1008"/>
                    <a:gd name="T23" fmla="*/ 182 h 1834"/>
                    <a:gd name="T24" fmla="*/ 0 w 1008"/>
                    <a:gd name="T25" fmla="*/ 1720 h 1834"/>
                    <a:gd name="T26" fmla="*/ 66 w 1008"/>
                    <a:gd name="T27" fmla="*/ 1764 h 1834"/>
                    <a:gd name="T28" fmla="*/ 66 w 1008"/>
                    <a:gd name="T29" fmla="*/ 1789 h 1834"/>
                    <a:gd name="T30" fmla="*/ 909 w 1008"/>
                    <a:gd name="T31" fmla="*/ 1834 h 1834"/>
                    <a:gd name="T32" fmla="*/ 953 w 1008"/>
                    <a:gd name="T33" fmla="*/ 1765 h 1834"/>
                    <a:gd name="T34" fmla="*/ 964 w 1008"/>
                    <a:gd name="T35" fmla="*/ 1764 h 1834"/>
                    <a:gd name="T36" fmla="*/ 1008 w 1008"/>
                    <a:gd name="T37" fmla="*/ 226 h 1834"/>
                    <a:gd name="T38" fmla="*/ 630 w 1008"/>
                    <a:gd name="T39" fmla="*/ 44 h 1834"/>
                    <a:gd name="T40" fmla="*/ 866 w 1008"/>
                    <a:gd name="T41" fmla="*/ 44 h 1834"/>
                    <a:gd name="T42" fmla="*/ 866 w 1008"/>
                    <a:gd name="T43" fmla="*/ 72 h 1834"/>
                    <a:gd name="T44" fmla="*/ 630 w 1008"/>
                    <a:gd name="T45" fmla="*/ 44 h 1834"/>
                    <a:gd name="T46" fmla="*/ 109 w 1008"/>
                    <a:gd name="T47" fmla="*/ 145 h 1834"/>
                    <a:gd name="T48" fmla="*/ 907 w 1008"/>
                    <a:gd name="T49" fmla="*/ 145 h 1834"/>
                    <a:gd name="T50" fmla="*/ 908 w 1008"/>
                    <a:gd name="T51" fmla="*/ 181 h 1834"/>
                    <a:gd name="T52" fmla="*/ 109 w 1008"/>
                    <a:gd name="T53" fmla="*/ 182 h 1834"/>
                    <a:gd name="T54" fmla="*/ 909 w 1008"/>
                    <a:gd name="T55" fmla="*/ 1789 h 1834"/>
                    <a:gd name="T56" fmla="*/ 110 w 1008"/>
                    <a:gd name="T57" fmla="*/ 1790 h 1834"/>
                    <a:gd name="T58" fmla="*/ 110 w 1008"/>
                    <a:gd name="T59" fmla="*/ 1765 h 1834"/>
                    <a:gd name="T60" fmla="*/ 909 w 1008"/>
                    <a:gd name="T61" fmla="*/ 1764 h 1834"/>
                    <a:gd name="T62" fmla="*/ 909 w 1008"/>
                    <a:gd name="T63" fmla="*/ 1789 h 1834"/>
                    <a:gd name="T64" fmla="*/ 964 w 1008"/>
                    <a:gd name="T65" fmla="*/ 1720 h 1834"/>
                    <a:gd name="T66" fmla="*/ 909 w 1008"/>
                    <a:gd name="T67" fmla="*/ 1720 h 1834"/>
                    <a:gd name="T68" fmla="*/ 109 w 1008"/>
                    <a:gd name="T69" fmla="*/ 1720 h 1834"/>
                    <a:gd name="T70" fmla="*/ 44 w 1008"/>
                    <a:gd name="T71" fmla="*/ 225 h 1834"/>
                    <a:gd name="T72" fmla="*/ 109 w 1008"/>
                    <a:gd name="T73" fmla="*/ 226 h 1834"/>
                    <a:gd name="T74" fmla="*/ 908 w 1008"/>
                    <a:gd name="T75" fmla="*/ 226 h 1834"/>
                    <a:gd name="T76" fmla="*/ 965 w 1008"/>
                    <a:gd name="T77" fmla="*/ 1720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8" h="1834">
                      <a:moveTo>
                        <a:pt x="964" y="182"/>
                      </a:moveTo>
                      <a:cubicBezTo>
                        <a:pt x="952" y="182"/>
                        <a:pt x="952" y="182"/>
                        <a:pt x="952" y="182"/>
                      </a:cubicBezTo>
                      <a:cubicBezTo>
                        <a:pt x="952" y="182"/>
                        <a:pt x="952" y="182"/>
                        <a:pt x="952" y="181"/>
                      </a:cubicBezTo>
                      <a:cubicBezTo>
                        <a:pt x="952" y="145"/>
                        <a:pt x="952" y="145"/>
                        <a:pt x="952" y="145"/>
                      </a:cubicBezTo>
                      <a:cubicBezTo>
                        <a:pt x="952" y="145"/>
                        <a:pt x="952" y="145"/>
                        <a:pt x="952" y="144"/>
                      </a:cubicBezTo>
                      <a:cubicBezTo>
                        <a:pt x="961" y="144"/>
                        <a:pt x="961" y="144"/>
                        <a:pt x="961" y="144"/>
                      </a:cubicBezTo>
                      <a:cubicBezTo>
                        <a:pt x="973" y="144"/>
                        <a:pt x="983" y="134"/>
                        <a:pt x="983" y="122"/>
                      </a:cubicBezTo>
                      <a:cubicBezTo>
                        <a:pt x="983" y="94"/>
                        <a:pt x="983" y="94"/>
                        <a:pt x="983" y="94"/>
                      </a:cubicBezTo>
                      <a:cubicBezTo>
                        <a:pt x="983" y="82"/>
                        <a:pt x="973" y="72"/>
                        <a:pt x="961" y="72"/>
                      </a:cubicBezTo>
                      <a:cubicBezTo>
                        <a:pt x="910" y="72"/>
                        <a:pt x="910" y="72"/>
                        <a:pt x="910" y="72"/>
                      </a:cubicBezTo>
                      <a:cubicBezTo>
                        <a:pt x="910" y="44"/>
                        <a:pt x="910" y="44"/>
                        <a:pt x="910" y="44"/>
                      </a:cubicBezTo>
                      <a:cubicBezTo>
                        <a:pt x="910" y="20"/>
                        <a:pt x="890" y="0"/>
                        <a:pt x="866" y="0"/>
                      </a:cubicBezTo>
                      <a:cubicBezTo>
                        <a:pt x="630" y="0"/>
                        <a:pt x="630" y="0"/>
                        <a:pt x="630" y="0"/>
                      </a:cubicBezTo>
                      <a:cubicBezTo>
                        <a:pt x="606" y="0"/>
                        <a:pt x="586" y="20"/>
                        <a:pt x="586" y="44"/>
                      </a:cubicBezTo>
                      <a:cubicBezTo>
                        <a:pt x="586" y="72"/>
                        <a:pt x="586" y="72"/>
                        <a:pt x="586" y="72"/>
                      </a:cubicBezTo>
                      <a:cubicBezTo>
                        <a:pt x="56" y="72"/>
                        <a:pt x="56" y="72"/>
                        <a:pt x="56" y="72"/>
                      </a:cubicBezTo>
                      <a:cubicBezTo>
                        <a:pt x="43" y="72"/>
                        <a:pt x="33" y="82"/>
                        <a:pt x="33" y="94"/>
                      </a:cubicBezTo>
                      <a:cubicBezTo>
                        <a:pt x="33" y="122"/>
                        <a:pt x="33" y="122"/>
                        <a:pt x="33" y="122"/>
                      </a:cubicBezTo>
                      <a:cubicBezTo>
                        <a:pt x="33" y="134"/>
                        <a:pt x="43" y="144"/>
                        <a:pt x="56" y="144"/>
                      </a:cubicBezTo>
                      <a:cubicBezTo>
                        <a:pt x="65" y="144"/>
                        <a:pt x="65" y="144"/>
                        <a:pt x="65" y="144"/>
                      </a:cubicBezTo>
                      <a:cubicBezTo>
                        <a:pt x="65" y="145"/>
                        <a:pt x="65" y="145"/>
                        <a:pt x="65" y="145"/>
                      </a:cubicBezTo>
                      <a:cubicBezTo>
                        <a:pt x="65" y="181"/>
                        <a:pt x="65" y="181"/>
                        <a:pt x="65" y="181"/>
                      </a:cubicBezTo>
                      <a:cubicBezTo>
                        <a:pt x="65" y="182"/>
                        <a:pt x="65" y="182"/>
                        <a:pt x="65" y="182"/>
                      </a:cubicBezTo>
                      <a:cubicBezTo>
                        <a:pt x="44" y="182"/>
                        <a:pt x="44" y="182"/>
                        <a:pt x="44" y="182"/>
                      </a:cubicBezTo>
                      <a:cubicBezTo>
                        <a:pt x="20" y="182"/>
                        <a:pt x="0" y="202"/>
                        <a:pt x="0" y="226"/>
                      </a:cubicBezTo>
                      <a:cubicBezTo>
                        <a:pt x="0" y="1720"/>
                        <a:pt x="0" y="1720"/>
                        <a:pt x="0" y="1720"/>
                      </a:cubicBezTo>
                      <a:cubicBezTo>
                        <a:pt x="0" y="1744"/>
                        <a:pt x="20" y="1764"/>
                        <a:pt x="44" y="1764"/>
                      </a:cubicBezTo>
                      <a:cubicBezTo>
                        <a:pt x="66" y="1764"/>
                        <a:pt x="66" y="1764"/>
                        <a:pt x="66" y="1764"/>
                      </a:cubicBezTo>
                      <a:cubicBezTo>
                        <a:pt x="66" y="1764"/>
                        <a:pt x="66" y="1764"/>
                        <a:pt x="66" y="1765"/>
                      </a:cubicBezTo>
                      <a:cubicBezTo>
                        <a:pt x="66" y="1789"/>
                        <a:pt x="66" y="1789"/>
                        <a:pt x="66" y="1789"/>
                      </a:cubicBezTo>
                      <a:cubicBezTo>
                        <a:pt x="66" y="1814"/>
                        <a:pt x="85" y="1834"/>
                        <a:pt x="110" y="1834"/>
                      </a:cubicBezTo>
                      <a:cubicBezTo>
                        <a:pt x="909" y="1834"/>
                        <a:pt x="909" y="1834"/>
                        <a:pt x="909" y="1834"/>
                      </a:cubicBezTo>
                      <a:cubicBezTo>
                        <a:pt x="933" y="1834"/>
                        <a:pt x="953" y="1814"/>
                        <a:pt x="953" y="1789"/>
                      </a:cubicBezTo>
                      <a:cubicBezTo>
                        <a:pt x="953" y="1765"/>
                        <a:pt x="953" y="1765"/>
                        <a:pt x="953" y="1765"/>
                      </a:cubicBezTo>
                      <a:cubicBezTo>
                        <a:pt x="953" y="1764"/>
                        <a:pt x="953" y="1764"/>
                        <a:pt x="953" y="1764"/>
                      </a:cubicBezTo>
                      <a:cubicBezTo>
                        <a:pt x="964" y="1764"/>
                        <a:pt x="964" y="1764"/>
                        <a:pt x="964" y="1764"/>
                      </a:cubicBezTo>
                      <a:cubicBezTo>
                        <a:pt x="988" y="1764"/>
                        <a:pt x="1008" y="1744"/>
                        <a:pt x="1008" y="1720"/>
                      </a:cubicBezTo>
                      <a:cubicBezTo>
                        <a:pt x="1008" y="226"/>
                        <a:pt x="1008" y="226"/>
                        <a:pt x="1008" y="226"/>
                      </a:cubicBezTo>
                      <a:cubicBezTo>
                        <a:pt x="1008" y="202"/>
                        <a:pt x="988" y="182"/>
                        <a:pt x="964" y="182"/>
                      </a:cubicBezTo>
                      <a:close/>
                      <a:moveTo>
                        <a:pt x="630" y="44"/>
                      </a:moveTo>
                      <a:cubicBezTo>
                        <a:pt x="630" y="44"/>
                        <a:pt x="630" y="44"/>
                        <a:pt x="630" y="44"/>
                      </a:cubicBezTo>
                      <a:cubicBezTo>
                        <a:pt x="866" y="44"/>
                        <a:pt x="866" y="44"/>
                        <a:pt x="866" y="44"/>
                      </a:cubicBezTo>
                      <a:cubicBezTo>
                        <a:pt x="866" y="44"/>
                        <a:pt x="866" y="44"/>
                        <a:pt x="866" y="44"/>
                      </a:cubicBezTo>
                      <a:cubicBezTo>
                        <a:pt x="866" y="72"/>
                        <a:pt x="866" y="72"/>
                        <a:pt x="866" y="72"/>
                      </a:cubicBezTo>
                      <a:cubicBezTo>
                        <a:pt x="630" y="72"/>
                        <a:pt x="630" y="72"/>
                        <a:pt x="630" y="72"/>
                      </a:cubicBezTo>
                      <a:lnTo>
                        <a:pt x="630" y="44"/>
                      </a:lnTo>
                      <a:close/>
                      <a:moveTo>
                        <a:pt x="109" y="181"/>
                      </a:moveTo>
                      <a:cubicBezTo>
                        <a:pt x="109" y="145"/>
                        <a:pt x="109" y="145"/>
                        <a:pt x="109" y="145"/>
                      </a:cubicBezTo>
                      <a:cubicBezTo>
                        <a:pt x="109" y="145"/>
                        <a:pt x="109" y="145"/>
                        <a:pt x="109" y="145"/>
                      </a:cubicBezTo>
                      <a:cubicBezTo>
                        <a:pt x="907" y="145"/>
                        <a:pt x="907" y="145"/>
                        <a:pt x="907" y="145"/>
                      </a:cubicBezTo>
                      <a:cubicBezTo>
                        <a:pt x="908" y="145"/>
                        <a:pt x="908" y="145"/>
                        <a:pt x="908" y="145"/>
                      </a:cubicBezTo>
                      <a:cubicBezTo>
                        <a:pt x="908" y="181"/>
                        <a:pt x="908" y="181"/>
                        <a:pt x="908" y="181"/>
                      </a:cubicBezTo>
                      <a:cubicBezTo>
                        <a:pt x="908" y="182"/>
                        <a:pt x="908" y="182"/>
                        <a:pt x="907" y="182"/>
                      </a:cubicBezTo>
                      <a:cubicBezTo>
                        <a:pt x="109" y="182"/>
                        <a:pt x="109" y="182"/>
                        <a:pt x="109" y="182"/>
                      </a:cubicBezTo>
                      <a:cubicBezTo>
                        <a:pt x="109" y="182"/>
                        <a:pt x="109" y="182"/>
                        <a:pt x="109" y="181"/>
                      </a:cubicBezTo>
                      <a:close/>
                      <a:moveTo>
                        <a:pt x="909" y="1789"/>
                      </a:moveTo>
                      <a:cubicBezTo>
                        <a:pt x="909" y="1790"/>
                        <a:pt x="909" y="1790"/>
                        <a:pt x="909" y="1790"/>
                      </a:cubicBezTo>
                      <a:cubicBezTo>
                        <a:pt x="110" y="1790"/>
                        <a:pt x="110" y="1790"/>
                        <a:pt x="110" y="1790"/>
                      </a:cubicBezTo>
                      <a:cubicBezTo>
                        <a:pt x="110" y="1790"/>
                        <a:pt x="110" y="1790"/>
                        <a:pt x="110" y="1789"/>
                      </a:cubicBezTo>
                      <a:cubicBezTo>
                        <a:pt x="110" y="1765"/>
                        <a:pt x="110" y="1765"/>
                        <a:pt x="110" y="1765"/>
                      </a:cubicBezTo>
                      <a:cubicBezTo>
                        <a:pt x="110" y="1764"/>
                        <a:pt x="110" y="1764"/>
                        <a:pt x="110" y="1764"/>
                      </a:cubicBezTo>
                      <a:cubicBezTo>
                        <a:pt x="909" y="1764"/>
                        <a:pt x="909" y="1764"/>
                        <a:pt x="909" y="1764"/>
                      </a:cubicBezTo>
                      <a:cubicBezTo>
                        <a:pt x="909" y="1764"/>
                        <a:pt x="909" y="1764"/>
                        <a:pt x="909" y="1765"/>
                      </a:cubicBezTo>
                      <a:lnTo>
                        <a:pt x="909" y="1789"/>
                      </a:lnTo>
                      <a:close/>
                      <a:moveTo>
                        <a:pt x="965" y="1720"/>
                      </a:moveTo>
                      <a:cubicBezTo>
                        <a:pt x="965" y="1720"/>
                        <a:pt x="964" y="1720"/>
                        <a:pt x="964" y="1720"/>
                      </a:cubicBezTo>
                      <a:cubicBezTo>
                        <a:pt x="913" y="1720"/>
                        <a:pt x="913" y="1720"/>
                        <a:pt x="913" y="1720"/>
                      </a:cubicBezTo>
                      <a:cubicBezTo>
                        <a:pt x="912" y="1720"/>
                        <a:pt x="910" y="1720"/>
                        <a:pt x="909" y="1720"/>
                      </a:cubicBezTo>
                      <a:cubicBezTo>
                        <a:pt x="110" y="1720"/>
                        <a:pt x="110" y="1720"/>
                        <a:pt x="110" y="1720"/>
                      </a:cubicBezTo>
                      <a:cubicBezTo>
                        <a:pt x="110" y="1720"/>
                        <a:pt x="109" y="1720"/>
                        <a:pt x="109" y="1720"/>
                      </a:cubicBezTo>
                      <a:cubicBezTo>
                        <a:pt x="43" y="1720"/>
                        <a:pt x="43" y="1720"/>
                        <a:pt x="43" y="1720"/>
                      </a:cubicBezTo>
                      <a:cubicBezTo>
                        <a:pt x="44" y="225"/>
                        <a:pt x="44" y="225"/>
                        <a:pt x="44" y="225"/>
                      </a:cubicBezTo>
                      <a:cubicBezTo>
                        <a:pt x="104" y="225"/>
                        <a:pt x="104" y="225"/>
                        <a:pt x="104" y="225"/>
                      </a:cubicBezTo>
                      <a:cubicBezTo>
                        <a:pt x="106" y="226"/>
                        <a:pt x="107" y="226"/>
                        <a:pt x="109" y="226"/>
                      </a:cubicBezTo>
                      <a:cubicBezTo>
                        <a:pt x="907" y="226"/>
                        <a:pt x="907" y="226"/>
                        <a:pt x="907" y="226"/>
                      </a:cubicBezTo>
                      <a:cubicBezTo>
                        <a:pt x="908" y="226"/>
                        <a:pt x="908" y="226"/>
                        <a:pt x="908" y="226"/>
                      </a:cubicBezTo>
                      <a:cubicBezTo>
                        <a:pt x="965" y="226"/>
                        <a:pt x="965" y="226"/>
                        <a:pt x="965" y="226"/>
                      </a:cubicBezTo>
                      <a:lnTo>
                        <a:pt x="965" y="1720"/>
                      </a:lnTo>
                      <a:close/>
                    </a:path>
                  </a:pathLst>
                </a:custGeom>
                <a:solidFill>
                  <a:schemeClr val="accent1"/>
                </a:solidFill>
                <a:ln>
                  <a:noFill/>
                </a:ln>
                <a:extLst/>
              </p:spPr>
              <p:txBody>
                <a:bodyPr vert="horz" wrap="square" lIns="32918" tIns="16459" rIns="32918" bIns="16459" numCol="1" anchor="t" anchorCtr="0" compatLnSpc="1">
                  <a:prstTxWarp prst="textNoShape">
                    <a:avLst/>
                  </a:prstTxWarp>
                </a:bodyPr>
                <a:lstStyle/>
                <a:p>
                  <a:endParaRPr lang="en-US" dirty="0"/>
                </a:p>
              </p:txBody>
            </p:sp>
          </p:grpSp>
        </p:grpSp>
        <p:grpSp>
          <p:nvGrpSpPr>
            <p:cNvPr id="19" name="bcgIcons_Chocolate">
              <a:extLst>
                <a:ext uri="{FF2B5EF4-FFF2-40B4-BE49-F238E27FC236}">
                  <a16:creationId xmlns:a16="http://schemas.microsoft.com/office/drawing/2014/main" xmlns="" id="{9B5B4718-A25B-4B58-903A-8E24BC93E494}"/>
                </a:ext>
              </a:extLst>
            </p:cNvPr>
            <p:cNvGrpSpPr>
              <a:grpSpLocks noChangeAspect="1"/>
            </p:cNvGrpSpPr>
            <p:nvPr/>
          </p:nvGrpSpPr>
          <p:grpSpPr bwMode="auto">
            <a:xfrm>
              <a:off x="911732" y="3256194"/>
              <a:ext cx="1199050" cy="1200161"/>
              <a:chOff x="1682" y="0"/>
              <a:chExt cx="4316" cy="4320"/>
            </a:xfrm>
          </p:grpSpPr>
          <p:sp>
            <p:nvSpPr>
              <p:cNvPr id="48" name="AutoShape 32">
                <a:extLst>
                  <a:ext uri="{FF2B5EF4-FFF2-40B4-BE49-F238E27FC236}">
                    <a16:creationId xmlns:a16="http://schemas.microsoft.com/office/drawing/2014/main" xmlns="" id="{F8100D84-46F4-4B21-9F7A-BBCD28650C6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sp>
            <p:nvSpPr>
              <p:cNvPr id="49" name="Freeform 34">
                <a:extLst>
                  <a:ext uri="{FF2B5EF4-FFF2-40B4-BE49-F238E27FC236}">
                    <a16:creationId xmlns:a16="http://schemas.microsoft.com/office/drawing/2014/main" xmlns="" id="{3DB03C5D-DC65-418F-8AB4-503EE131C16D}"/>
                  </a:ext>
                </a:extLst>
              </p:cNvPr>
              <p:cNvSpPr>
                <a:spLocks noEditPoints="1"/>
              </p:cNvSpPr>
              <p:nvPr/>
            </p:nvSpPr>
            <p:spPr bwMode="auto">
              <a:xfrm>
                <a:off x="2238" y="444"/>
                <a:ext cx="3119" cy="3428"/>
              </a:xfrm>
              <a:custGeom>
                <a:avLst/>
                <a:gdLst>
                  <a:gd name="T0" fmla="*/ 1491 w 1665"/>
                  <a:gd name="T1" fmla="*/ 943 h 1828"/>
                  <a:gd name="T2" fmla="*/ 1491 w 1665"/>
                  <a:gd name="T3" fmla="*/ 1806 h 1828"/>
                  <a:gd name="T4" fmla="*/ 1469 w 1665"/>
                  <a:gd name="T5" fmla="*/ 1828 h 1828"/>
                  <a:gd name="T6" fmla="*/ 239 w 1665"/>
                  <a:gd name="T7" fmla="*/ 1828 h 1828"/>
                  <a:gd name="T8" fmla="*/ 217 w 1665"/>
                  <a:gd name="T9" fmla="*/ 1806 h 1828"/>
                  <a:gd name="T10" fmla="*/ 217 w 1665"/>
                  <a:gd name="T11" fmla="*/ 943 h 1828"/>
                  <a:gd name="T12" fmla="*/ 261 w 1665"/>
                  <a:gd name="T13" fmla="*/ 943 h 1828"/>
                  <a:gd name="T14" fmla="*/ 261 w 1665"/>
                  <a:gd name="T15" fmla="*/ 1784 h 1828"/>
                  <a:gd name="T16" fmla="*/ 1447 w 1665"/>
                  <a:gd name="T17" fmla="*/ 1784 h 1828"/>
                  <a:gd name="T18" fmla="*/ 1447 w 1665"/>
                  <a:gd name="T19" fmla="*/ 943 h 1828"/>
                  <a:gd name="T20" fmla="*/ 1491 w 1665"/>
                  <a:gd name="T21" fmla="*/ 943 h 1828"/>
                  <a:gd name="T22" fmla="*/ 1662 w 1665"/>
                  <a:gd name="T23" fmla="*/ 887 h 1828"/>
                  <a:gd name="T24" fmla="*/ 1642 w 1665"/>
                  <a:gd name="T25" fmla="*/ 899 h 1828"/>
                  <a:gd name="T26" fmla="*/ 1047 w 1665"/>
                  <a:gd name="T27" fmla="*/ 899 h 1828"/>
                  <a:gd name="T28" fmla="*/ 23 w 1665"/>
                  <a:gd name="T29" fmla="*/ 899 h 1828"/>
                  <a:gd name="T30" fmla="*/ 4 w 1665"/>
                  <a:gd name="T31" fmla="*/ 888 h 1828"/>
                  <a:gd name="T32" fmla="*/ 5 w 1665"/>
                  <a:gd name="T33" fmla="*/ 866 h 1828"/>
                  <a:gd name="T34" fmla="*/ 213 w 1665"/>
                  <a:gd name="T35" fmla="*/ 522 h 1828"/>
                  <a:gd name="T36" fmla="*/ 217 w 1665"/>
                  <a:gd name="T37" fmla="*/ 517 h 1828"/>
                  <a:gd name="T38" fmla="*/ 217 w 1665"/>
                  <a:gd name="T39" fmla="*/ 22 h 1828"/>
                  <a:gd name="T40" fmla="*/ 239 w 1665"/>
                  <a:gd name="T41" fmla="*/ 0 h 1828"/>
                  <a:gd name="T42" fmla="*/ 1142 w 1665"/>
                  <a:gd name="T43" fmla="*/ 0 h 1828"/>
                  <a:gd name="T44" fmla="*/ 1159 w 1665"/>
                  <a:gd name="T45" fmla="*/ 8 h 1828"/>
                  <a:gd name="T46" fmla="*/ 1164 w 1665"/>
                  <a:gd name="T47" fmla="*/ 27 h 1828"/>
                  <a:gd name="T48" fmla="*/ 1162 w 1665"/>
                  <a:gd name="T49" fmla="*/ 42 h 1828"/>
                  <a:gd name="T50" fmla="*/ 1186 w 1665"/>
                  <a:gd name="T51" fmla="*/ 92 h 1828"/>
                  <a:gd name="T52" fmla="*/ 1189 w 1665"/>
                  <a:gd name="T53" fmla="*/ 122 h 1828"/>
                  <a:gd name="T54" fmla="*/ 1169 w 1665"/>
                  <a:gd name="T55" fmla="*/ 181 h 1828"/>
                  <a:gd name="T56" fmla="*/ 1256 w 1665"/>
                  <a:gd name="T57" fmla="*/ 278 h 1828"/>
                  <a:gd name="T58" fmla="*/ 1271 w 1665"/>
                  <a:gd name="T59" fmla="*/ 286 h 1828"/>
                  <a:gd name="T60" fmla="*/ 1276 w 1665"/>
                  <a:gd name="T61" fmla="*/ 303 h 1828"/>
                  <a:gd name="T62" fmla="*/ 1275 w 1665"/>
                  <a:gd name="T63" fmla="*/ 318 h 1828"/>
                  <a:gd name="T64" fmla="*/ 1372 w 1665"/>
                  <a:gd name="T65" fmla="*/ 416 h 1828"/>
                  <a:gd name="T66" fmla="*/ 1420 w 1665"/>
                  <a:gd name="T67" fmla="*/ 403 h 1828"/>
                  <a:gd name="T68" fmla="*/ 1439 w 1665"/>
                  <a:gd name="T69" fmla="*/ 402 h 1828"/>
                  <a:gd name="T70" fmla="*/ 1452 w 1665"/>
                  <a:gd name="T71" fmla="*/ 416 h 1828"/>
                  <a:gd name="T72" fmla="*/ 1480 w 1665"/>
                  <a:gd name="T73" fmla="*/ 454 h 1828"/>
                  <a:gd name="T74" fmla="*/ 1491 w 1665"/>
                  <a:gd name="T75" fmla="*/ 472 h 1828"/>
                  <a:gd name="T76" fmla="*/ 1491 w 1665"/>
                  <a:gd name="T77" fmla="*/ 627 h 1828"/>
                  <a:gd name="T78" fmla="*/ 1498 w 1665"/>
                  <a:gd name="T79" fmla="*/ 634 h 1828"/>
                  <a:gd name="T80" fmla="*/ 1660 w 1665"/>
                  <a:gd name="T81" fmla="*/ 864 h 1828"/>
                  <a:gd name="T82" fmla="*/ 1662 w 1665"/>
                  <a:gd name="T83" fmla="*/ 887 h 1828"/>
                  <a:gd name="T84" fmla="*/ 261 w 1665"/>
                  <a:gd name="T85" fmla="*/ 44 h 1828"/>
                  <a:gd name="T86" fmla="*/ 261 w 1665"/>
                  <a:gd name="T87" fmla="*/ 521 h 1828"/>
                  <a:gd name="T88" fmla="*/ 1046 w 1665"/>
                  <a:gd name="T89" fmla="*/ 853 h 1828"/>
                  <a:gd name="T90" fmla="*/ 1447 w 1665"/>
                  <a:gd name="T91" fmla="*/ 640 h 1828"/>
                  <a:gd name="T92" fmla="*/ 1447 w 1665"/>
                  <a:gd name="T93" fmla="*/ 484 h 1828"/>
                  <a:gd name="T94" fmla="*/ 1420 w 1665"/>
                  <a:gd name="T95" fmla="*/ 452 h 1828"/>
                  <a:gd name="T96" fmla="*/ 1372 w 1665"/>
                  <a:gd name="T97" fmla="*/ 460 h 1828"/>
                  <a:gd name="T98" fmla="*/ 1231 w 1665"/>
                  <a:gd name="T99" fmla="*/ 318 h 1828"/>
                  <a:gd name="T100" fmla="*/ 1231 w 1665"/>
                  <a:gd name="T101" fmla="*/ 318 h 1828"/>
                  <a:gd name="T102" fmla="*/ 1125 w 1665"/>
                  <a:gd name="T103" fmla="*/ 181 h 1828"/>
                  <a:gd name="T104" fmla="*/ 1143 w 1665"/>
                  <a:gd name="T105" fmla="*/ 112 h 1828"/>
                  <a:gd name="T106" fmla="*/ 1118 w 1665"/>
                  <a:gd name="T107" fmla="*/ 44 h 1828"/>
                  <a:gd name="T108" fmla="*/ 261 w 1665"/>
                  <a:gd name="T109" fmla="*/ 44 h 1828"/>
                  <a:gd name="T110" fmla="*/ 939 w 1665"/>
                  <a:gd name="T111" fmla="*/ 855 h 1828"/>
                  <a:gd name="T112" fmla="*/ 241 w 1665"/>
                  <a:gd name="T113" fmla="*/ 561 h 1828"/>
                  <a:gd name="T114" fmla="*/ 62 w 1665"/>
                  <a:gd name="T115" fmla="*/ 855 h 1828"/>
                  <a:gd name="T116" fmla="*/ 939 w 1665"/>
                  <a:gd name="T117" fmla="*/ 855 h 1828"/>
                  <a:gd name="T118" fmla="*/ 1600 w 1665"/>
                  <a:gd name="T119" fmla="*/ 855 h 1828"/>
                  <a:gd name="T120" fmla="*/ 1474 w 1665"/>
                  <a:gd name="T121" fmla="*/ 675 h 1828"/>
                  <a:gd name="T122" fmla="*/ 1136 w 1665"/>
                  <a:gd name="T123" fmla="*/ 855 h 1828"/>
                  <a:gd name="T124" fmla="*/ 1600 w 1665"/>
                  <a:gd name="T125" fmla="*/ 85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5" h="1828">
                    <a:moveTo>
                      <a:pt x="1491" y="943"/>
                    </a:moveTo>
                    <a:cubicBezTo>
                      <a:pt x="1491" y="1806"/>
                      <a:pt x="1491" y="1806"/>
                      <a:pt x="1491" y="1806"/>
                    </a:cubicBezTo>
                    <a:cubicBezTo>
                      <a:pt x="1491" y="1818"/>
                      <a:pt x="1481" y="1828"/>
                      <a:pt x="1469" y="1828"/>
                    </a:cubicBezTo>
                    <a:cubicBezTo>
                      <a:pt x="239" y="1828"/>
                      <a:pt x="239" y="1828"/>
                      <a:pt x="239" y="1828"/>
                    </a:cubicBezTo>
                    <a:cubicBezTo>
                      <a:pt x="227" y="1828"/>
                      <a:pt x="217" y="1818"/>
                      <a:pt x="217" y="1806"/>
                    </a:cubicBezTo>
                    <a:cubicBezTo>
                      <a:pt x="217" y="943"/>
                      <a:pt x="217" y="943"/>
                      <a:pt x="217" y="943"/>
                    </a:cubicBezTo>
                    <a:cubicBezTo>
                      <a:pt x="261" y="943"/>
                      <a:pt x="261" y="943"/>
                      <a:pt x="261" y="943"/>
                    </a:cubicBezTo>
                    <a:cubicBezTo>
                      <a:pt x="261" y="1784"/>
                      <a:pt x="261" y="1784"/>
                      <a:pt x="261" y="1784"/>
                    </a:cubicBezTo>
                    <a:cubicBezTo>
                      <a:pt x="1447" y="1784"/>
                      <a:pt x="1447" y="1784"/>
                      <a:pt x="1447" y="1784"/>
                    </a:cubicBezTo>
                    <a:cubicBezTo>
                      <a:pt x="1447" y="943"/>
                      <a:pt x="1447" y="943"/>
                      <a:pt x="1447" y="943"/>
                    </a:cubicBezTo>
                    <a:lnTo>
                      <a:pt x="1491" y="943"/>
                    </a:lnTo>
                    <a:close/>
                    <a:moveTo>
                      <a:pt x="1662" y="887"/>
                    </a:moveTo>
                    <a:cubicBezTo>
                      <a:pt x="1658" y="894"/>
                      <a:pt x="1650" y="899"/>
                      <a:pt x="1642" y="899"/>
                    </a:cubicBezTo>
                    <a:cubicBezTo>
                      <a:pt x="1047" y="899"/>
                      <a:pt x="1047" y="899"/>
                      <a:pt x="1047" y="899"/>
                    </a:cubicBezTo>
                    <a:cubicBezTo>
                      <a:pt x="23" y="899"/>
                      <a:pt x="23" y="899"/>
                      <a:pt x="23" y="899"/>
                    </a:cubicBezTo>
                    <a:cubicBezTo>
                      <a:pt x="15" y="899"/>
                      <a:pt x="8" y="895"/>
                      <a:pt x="4" y="888"/>
                    </a:cubicBezTo>
                    <a:cubicBezTo>
                      <a:pt x="0" y="881"/>
                      <a:pt x="0" y="872"/>
                      <a:pt x="5" y="866"/>
                    </a:cubicBezTo>
                    <a:cubicBezTo>
                      <a:pt x="213" y="522"/>
                      <a:pt x="213" y="522"/>
                      <a:pt x="213" y="522"/>
                    </a:cubicBezTo>
                    <a:cubicBezTo>
                      <a:pt x="214" y="520"/>
                      <a:pt x="216" y="518"/>
                      <a:pt x="217" y="517"/>
                    </a:cubicBezTo>
                    <a:cubicBezTo>
                      <a:pt x="217" y="22"/>
                      <a:pt x="217" y="22"/>
                      <a:pt x="217" y="22"/>
                    </a:cubicBezTo>
                    <a:cubicBezTo>
                      <a:pt x="217" y="10"/>
                      <a:pt x="227" y="0"/>
                      <a:pt x="239" y="0"/>
                    </a:cubicBezTo>
                    <a:cubicBezTo>
                      <a:pt x="1142" y="0"/>
                      <a:pt x="1142" y="0"/>
                      <a:pt x="1142" y="0"/>
                    </a:cubicBezTo>
                    <a:cubicBezTo>
                      <a:pt x="1149" y="0"/>
                      <a:pt x="1155" y="3"/>
                      <a:pt x="1159" y="8"/>
                    </a:cubicBezTo>
                    <a:cubicBezTo>
                      <a:pt x="1164" y="14"/>
                      <a:pt x="1165" y="20"/>
                      <a:pt x="1164" y="27"/>
                    </a:cubicBezTo>
                    <a:cubicBezTo>
                      <a:pt x="1163" y="32"/>
                      <a:pt x="1162" y="37"/>
                      <a:pt x="1162" y="42"/>
                    </a:cubicBezTo>
                    <a:cubicBezTo>
                      <a:pt x="1162" y="61"/>
                      <a:pt x="1171" y="79"/>
                      <a:pt x="1186" y="92"/>
                    </a:cubicBezTo>
                    <a:cubicBezTo>
                      <a:pt x="1194" y="100"/>
                      <a:pt x="1196" y="113"/>
                      <a:pt x="1189" y="122"/>
                    </a:cubicBezTo>
                    <a:cubicBezTo>
                      <a:pt x="1176" y="139"/>
                      <a:pt x="1169" y="160"/>
                      <a:pt x="1169" y="181"/>
                    </a:cubicBezTo>
                    <a:cubicBezTo>
                      <a:pt x="1169" y="231"/>
                      <a:pt x="1206" y="273"/>
                      <a:pt x="1256" y="278"/>
                    </a:cubicBezTo>
                    <a:cubicBezTo>
                      <a:pt x="1262" y="278"/>
                      <a:pt x="1268" y="281"/>
                      <a:pt x="1271" y="286"/>
                    </a:cubicBezTo>
                    <a:cubicBezTo>
                      <a:pt x="1275" y="291"/>
                      <a:pt x="1277" y="297"/>
                      <a:pt x="1276" y="303"/>
                    </a:cubicBezTo>
                    <a:cubicBezTo>
                      <a:pt x="1275" y="308"/>
                      <a:pt x="1275" y="313"/>
                      <a:pt x="1275" y="318"/>
                    </a:cubicBezTo>
                    <a:cubicBezTo>
                      <a:pt x="1275" y="372"/>
                      <a:pt x="1318" y="416"/>
                      <a:pt x="1372" y="416"/>
                    </a:cubicBezTo>
                    <a:cubicBezTo>
                      <a:pt x="1389" y="416"/>
                      <a:pt x="1406" y="411"/>
                      <a:pt x="1420" y="403"/>
                    </a:cubicBezTo>
                    <a:cubicBezTo>
                      <a:pt x="1426" y="400"/>
                      <a:pt x="1433" y="399"/>
                      <a:pt x="1439" y="402"/>
                    </a:cubicBezTo>
                    <a:cubicBezTo>
                      <a:pt x="1446" y="404"/>
                      <a:pt x="1450" y="410"/>
                      <a:pt x="1452" y="416"/>
                    </a:cubicBezTo>
                    <a:cubicBezTo>
                      <a:pt x="1457" y="432"/>
                      <a:pt x="1467" y="445"/>
                      <a:pt x="1480" y="454"/>
                    </a:cubicBezTo>
                    <a:cubicBezTo>
                      <a:pt x="1487" y="458"/>
                      <a:pt x="1491" y="465"/>
                      <a:pt x="1491" y="472"/>
                    </a:cubicBezTo>
                    <a:cubicBezTo>
                      <a:pt x="1491" y="627"/>
                      <a:pt x="1491" y="627"/>
                      <a:pt x="1491" y="627"/>
                    </a:cubicBezTo>
                    <a:cubicBezTo>
                      <a:pt x="1494" y="629"/>
                      <a:pt x="1496" y="631"/>
                      <a:pt x="1498" y="634"/>
                    </a:cubicBezTo>
                    <a:cubicBezTo>
                      <a:pt x="1660" y="864"/>
                      <a:pt x="1660" y="864"/>
                      <a:pt x="1660" y="864"/>
                    </a:cubicBezTo>
                    <a:cubicBezTo>
                      <a:pt x="1665" y="871"/>
                      <a:pt x="1665" y="880"/>
                      <a:pt x="1662" y="887"/>
                    </a:cubicBezTo>
                    <a:close/>
                    <a:moveTo>
                      <a:pt x="261" y="44"/>
                    </a:moveTo>
                    <a:cubicBezTo>
                      <a:pt x="261" y="521"/>
                      <a:pt x="261" y="521"/>
                      <a:pt x="261" y="521"/>
                    </a:cubicBezTo>
                    <a:cubicBezTo>
                      <a:pt x="1046" y="853"/>
                      <a:pt x="1046" y="853"/>
                      <a:pt x="1046" y="853"/>
                    </a:cubicBezTo>
                    <a:cubicBezTo>
                      <a:pt x="1447" y="640"/>
                      <a:pt x="1447" y="640"/>
                      <a:pt x="1447" y="640"/>
                    </a:cubicBezTo>
                    <a:cubicBezTo>
                      <a:pt x="1447" y="484"/>
                      <a:pt x="1447" y="484"/>
                      <a:pt x="1447" y="484"/>
                    </a:cubicBezTo>
                    <a:cubicBezTo>
                      <a:pt x="1436" y="475"/>
                      <a:pt x="1426" y="464"/>
                      <a:pt x="1420" y="452"/>
                    </a:cubicBezTo>
                    <a:cubicBezTo>
                      <a:pt x="1404" y="457"/>
                      <a:pt x="1389" y="460"/>
                      <a:pt x="1372" y="460"/>
                    </a:cubicBezTo>
                    <a:cubicBezTo>
                      <a:pt x="1294" y="460"/>
                      <a:pt x="1231" y="396"/>
                      <a:pt x="1231" y="318"/>
                    </a:cubicBezTo>
                    <a:cubicBezTo>
                      <a:pt x="1231" y="318"/>
                      <a:pt x="1231" y="318"/>
                      <a:pt x="1231" y="318"/>
                    </a:cubicBezTo>
                    <a:cubicBezTo>
                      <a:pt x="1169" y="302"/>
                      <a:pt x="1125" y="246"/>
                      <a:pt x="1125" y="181"/>
                    </a:cubicBezTo>
                    <a:cubicBezTo>
                      <a:pt x="1125" y="156"/>
                      <a:pt x="1131" y="133"/>
                      <a:pt x="1143" y="112"/>
                    </a:cubicBezTo>
                    <a:cubicBezTo>
                      <a:pt x="1128" y="93"/>
                      <a:pt x="1119" y="69"/>
                      <a:pt x="1118" y="44"/>
                    </a:cubicBezTo>
                    <a:lnTo>
                      <a:pt x="261" y="44"/>
                    </a:lnTo>
                    <a:close/>
                    <a:moveTo>
                      <a:pt x="939" y="855"/>
                    </a:moveTo>
                    <a:cubicBezTo>
                      <a:pt x="241" y="561"/>
                      <a:pt x="241" y="561"/>
                      <a:pt x="241" y="561"/>
                    </a:cubicBezTo>
                    <a:cubicBezTo>
                      <a:pt x="62" y="855"/>
                      <a:pt x="62" y="855"/>
                      <a:pt x="62" y="855"/>
                    </a:cubicBezTo>
                    <a:lnTo>
                      <a:pt x="939" y="855"/>
                    </a:lnTo>
                    <a:close/>
                    <a:moveTo>
                      <a:pt x="1600" y="855"/>
                    </a:moveTo>
                    <a:cubicBezTo>
                      <a:pt x="1474" y="675"/>
                      <a:pt x="1474" y="675"/>
                      <a:pt x="1474" y="675"/>
                    </a:cubicBezTo>
                    <a:cubicBezTo>
                      <a:pt x="1136" y="855"/>
                      <a:pt x="1136" y="855"/>
                      <a:pt x="1136" y="855"/>
                    </a:cubicBezTo>
                    <a:lnTo>
                      <a:pt x="1600" y="8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sp>
            <p:nvSpPr>
              <p:cNvPr id="50" name="Freeform 35">
                <a:extLst>
                  <a:ext uri="{FF2B5EF4-FFF2-40B4-BE49-F238E27FC236}">
                    <a16:creationId xmlns:a16="http://schemas.microsoft.com/office/drawing/2014/main" xmlns="" id="{319170AE-8BAE-4A03-9BBB-EA736C410F5B}"/>
                  </a:ext>
                </a:extLst>
              </p:cNvPr>
              <p:cNvSpPr>
                <a:spLocks noEditPoints="1"/>
              </p:cNvSpPr>
              <p:nvPr/>
            </p:nvSpPr>
            <p:spPr bwMode="auto">
              <a:xfrm>
                <a:off x="2810" y="609"/>
                <a:ext cx="2057" cy="1343"/>
              </a:xfrm>
              <a:custGeom>
                <a:avLst/>
                <a:gdLst>
                  <a:gd name="T0" fmla="*/ 893 w 1098"/>
                  <a:gd name="T1" fmla="*/ 295 h 716"/>
                  <a:gd name="T2" fmla="*/ 581 w 1098"/>
                  <a:gd name="T3" fmla="*/ 295 h 716"/>
                  <a:gd name="T4" fmla="*/ 571 w 1098"/>
                  <a:gd name="T5" fmla="*/ 285 h 716"/>
                  <a:gd name="T6" fmla="*/ 571 w 1098"/>
                  <a:gd name="T7" fmla="*/ 10 h 716"/>
                  <a:gd name="T8" fmla="*/ 581 w 1098"/>
                  <a:gd name="T9" fmla="*/ 0 h 716"/>
                  <a:gd name="T10" fmla="*/ 776 w 1098"/>
                  <a:gd name="T11" fmla="*/ 0 h 716"/>
                  <a:gd name="T12" fmla="*/ 788 w 1098"/>
                  <a:gd name="T13" fmla="*/ 28 h 716"/>
                  <a:gd name="T14" fmla="*/ 776 w 1098"/>
                  <a:gd name="T15" fmla="*/ 93 h 716"/>
                  <a:gd name="T16" fmla="*/ 884 w 1098"/>
                  <a:gd name="T17" fmla="*/ 262 h 716"/>
                  <a:gd name="T18" fmla="*/ 893 w 1098"/>
                  <a:gd name="T19" fmla="*/ 295 h 716"/>
                  <a:gd name="T20" fmla="*/ 527 w 1098"/>
                  <a:gd name="T21" fmla="*/ 285 h 716"/>
                  <a:gd name="T22" fmla="*/ 527 w 1098"/>
                  <a:gd name="T23" fmla="*/ 10 h 716"/>
                  <a:gd name="T24" fmla="*/ 517 w 1098"/>
                  <a:gd name="T25" fmla="*/ 0 h 716"/>
                  <a:gd name="T26" fmla="*/ 10 w 1098"/>
                  <a:gd name="T27" fmla="*/ 0 h 716"/>
                  <a:gd name="T28" fmla="*/ 0 w 1098"/>
                  <a:gd name="T29" fmla="*/ 10 h 716"/>
                  <a:gd name="T30" fmla="*/ 0 w 1098"/>
                  <a:gd name="T31" fmla="*/ 285 h 716"/>
                  <a:gd name="T32" fmla="*/ 10 w 1098"/>
                  <a:gd name="T33" fmla="*/ 295 h 716"/>
                  <a:gd name="T34" fmla="*/ 517 w 1098"/>
                  <a:gd name="T35" fmla="*/ 295 h 716"/>
                  <a:gd name="T36" fmla="*/ 527 w 1098"/>
                  <a:gd name="T37" fmla="*/ 285 h 716"/>
                  <a:gd name="T38" fmla="*/ 742 w 1098"/>
                  <a:gd name="T39" fmla="*/ 715 h 716"/>
                  <a:gd name="T40" fmla="*/ 810 w 1098"/>
                  <a:gd name="T41" fmla="*/ 678 h 716"/>
                  <a:gd name="T42" fmla="*/ 650 w 1098"/>
                  <a:gd name="T43" fmla="*/ 678 h 716"/>
                  <a:gd name="T44" fmla="*/ 735 w 1098"/>
                  <a:gd name="T45" fmla="*/ 714 h 716"/>
                  <a:gd name="T46" fmla="*/ 739 w 1098"/>
                  <a:gd name="T47" fmla="*/ 716 h 716"/>
                  <a:gd name="T48" fmla="*/ 742 w 1098"/>
                  <a:gd name="T49" fmla="*/ 715 h 716"/>
                  <a:gd name="T50" fmla="*/ 527 w 1098"/>
                  <a:gd name="T51" fmla="*/ 626 h 716"/>
                  <a:gd name="T52" fmla="*/ 527 w 1098"/>
                  <a:gd name="T53" fmla="*/ 624 h 716"/>
                  <a:gd name="T54" fmla="*/ 527 w 1098"/>
                  <a:gd name="T55" fmla="*/ 349 h 716"/>
                  <a:gd name="T56" fmla="*/ 517 w 1098"/>
                  <a:gd name="T57" fmla="*/ 339 h 716"/>
                  <a:gd name="T58" fmla="*/ 10 w 1098"/>
                  <a:gd name="T59" fmla="*/ 339 h 716"/>
                  <a:gd name="T60" fmla="*/ 0 w 1098"/>
                  <a:gd name="T61" fmla="*/ 349 h 716"/>
                  <a:gd name="T62" fmla="*/ 0 w 1098"/>
                  <a:gd name="T63" fmla="*/ 404 h 716"/>
                  <a:gd name="T64" fmla="*/ 527 w 1098"/>
                  <a:gd name="T65" fmla="*/ 626 h 716"/>
                  <a:gd name="T66" fmla="*/ 1097 w 1098"/>
                  <a:gd name="T67" fmla="*/ 413 h 716"/>
                  <a:gd name="T68" fmla="*/ 1067 w 1098"/>
                  <a:gd name="T69" fmla="*/ 416 h 716"/>
                  <a:gd name="T70" fmla="*/ 917 w 1098"/>
                  <a:gd name="T71" fmla="*/ 339 h 716"/>
                  <a:gd name="T72" fmla="*/ 581 w 1098"/>
                  <a:gd name="T73" fmla="*/ 339 h 716"/>
                  <a:gd name="T74" fmla="*/ 571 w 1098"/>
                  <a:gd name="T75" fmla="*/ 349 h 716"/>
                  <a:gd name="T76" fmla="*/ 571 w 1098"/>
                  <a:gd name="T77" fmla="*/ 624 h 716"/>
                  <a:gd name="T78" fmla="*/ 581 w 1098"/>
                  <a:gd name="T79" fmla="*/ 634 h 716"/>
                  <a:gd name="T80" fmla="*/ 893 w 1098"/>
                  <a:gd name="T81" fmla="*/ 634 h 716"/>
                  <a:gd name="T82" fmla="*/ 1098 w 1098"/>
                  <a:gd name="T83" fmla="*/ 525 h 716"/>
                  <a:gd name="T84" fmla="*/ 1098 w 1098"/>
                  <a:gd name="T85" fmla="*/ 414 h 716"/>
                  <a:gd name="T86" fmla="*/ 1097 w 1098"/>
                  <a:gd name="T87" fmla="*/ 413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98" h="716">
                    <a:moveTo>
                      <a:pt x="893" y="295"/>
                    </a:moveTo>
                    <a:cubicBezTo>
                      <a:pt x="581" y="295"/>
                      <a:pt x="581" y="295"/>
                      <a:pt x="581" y="295"/>
                    </a:cubicBezTo>
                    <a:cubicBezTo>
                      <a:pt x="575" y="295"/>
                      <a:pt x="571" y="291"/>
                      <a:pt x="571" y="285"/>
                    </a:cubicBezTo>
                    <a:cubicBezTo>
                      <a:pt x="571" y="10"/>
                      <a:pt x="571" y="10"/>
                      <a:pt x="571" y="10"/>
                    </a:cubicBezTo>
                    <a:cubicBezTo>
                      <a:pt x="571" y="4"/>
                      <a:pt x="575" y="0"/>
                      <a:pt x="581" y="0"/>
                    </a:cubicBezTo>
                    <a:cubicBezTo>
                      <a:pt x="776" y="0"/>
                      <a:pt x="776" y="0"/>
                      <a:pt x="776" y="0"/>
                    </a:cubicBezTo>
                    <a:cubicBezTo>
                      <a:pt x="779" y="10"/>
                      <a:pt x="783" y="19"/>
                      <a:pt x="788" y="28"/>
                    </a:cubicBezTo>
                    <a:cubicBezTo>
                      <a:pt x="780" y="48"/>
                      <a:pt x="776" y="70"/>
                      <a:pt x="776" y="93"/>
                    </a:cubicBezTo>
                    <a:cubicBezTo>
                      <a:pt x="776" y="168"/>
                      <a:pt x="820" y="232"/>
                      <a:pt x="884" y="262"/>
                    </a:cubicBezTo>
                    <a:cubicBezTo>
                      <a:pt x="886" y="273"/>
                      <a:pt x="889" y="284"/>
                      <a:pt x="893" y="295"/>
                    </a:cubicBezTo>
                    <a:close/>
                    <a:moveTo>
                      <a:pt x="527" y="285"/>
                    </a:moveTo>
                    <a:cubicBezTo>
                      <a:pt x="527" y="10"/>
                      <a:pt x="527" y="10"/>
                      <a:pt x="527" y="10"/>
                    </a:cubicBezTo>
                    <a:cubicBezTo>
                      <a:pt x="527" y="4"/>
                      <a:pt x="523" y="0"/>
                      <a:pt x="517" y="0"/>
                    </a:cubicBezTo>
                    <a:cubicBezTo>
                      <a:pt x="10" y="0"/>
                      <a:pt x="10" y="0"/>
                      <a:pt x="10" y="0"/>
                    </a:cubicBezTo>
                    <a:cubicBezTo>
                      <a:pt x="5" y="0"/>
                      <a:pt x="0" y="4"/>
                      <a:pt x="0" y="10"/>
                    </a:cubicBezTo>
                    <a:cubicBezTo>
                      <a:pt x="0" y="285"/>
                      <a:pt x="0" y="285"/>
                      <a:pt x="0" y="285"/>
                    </a:cubicBezTo>
                    <a:cubicBezTo>
                      <a:pt x="0" y="291"/>
                      <a:pt x="5" y="295"/>
                      <a:pt x="10" y="295"/>
                    </a:cubicBezTo>
                    <a:cubicBezTo>
                      <a:pt x="517" y="295"/>
                      <a:pt x="517" y="295"/>
                      <a:pt x="517" y="295"/>
                    </a:cubicBezTo>
                    <a:cubicBezTo>
                      <a:pt x="523" y="295"/>
                      <a:pt x="527" y="291"/>
                      <a:pt x="527" y="285"/>
                    </a:cubicBezTo>
                    <a:close/>
                    <a:moveTo>
                      <a:pt x="742" y="715"/>
                    </a:moveTo>
                    <a:cubicBezTo>
                      <a:pt x="810" y="678"/>
                      <a:pt x="810" y="678"/>
                      <a:pt x="810" y="678"/>
                    </a:cubicBezTo>
                    <a:cubicBezTo>
                      <a:pt x="650" y="678"/>
                      <a:pt x="650" y="678"/>
                      <a:pt x="650" y="678"/>
                    </a:cubicBezTo>
                    <a:cubicBezTo>
                      <a:pt x="735" y="714"/>
                      <a:pt x="735" y="714"/>
                      <a:pt x="735" y="714"/>
                    </a:cubicBezTo>
                    <a:cubicBezTo>
                      <a:pt x="736" y="715"/>
                      <a:pt x="738" y="715"/>
                      <a:pt x="739" y="716"/>
                    </a:cubicBezTo>
                    <a:cubicBezTo>
                      <a:pt x="740" y="716"/>
                      <a:pt x="741" y="715"/>
                      <a:pt x="742" y="715"/>
                    </a:cubicBezTo>
                    <a:close/>
                    <a:moveTo>
                      <a:pt x="527" y="626"/>
                    </a:moveTo>
                    <a:cubicBezTo>
                      <a:pt x="527" y="626"/>
                      <a:pt x="527" y="625"/>
                      <a:pt x="527" y="624"/>
                    </a:cubicBezTo>
                    <a:cubicBezTo>
                      <a:pt x="527" y="349"/>
                      <a:pt x="527" y="349"/>
                      <a:pt x="527" y="349"/>
                    </a:cubicBezTo>
                    <a:cubicBezTo>
                      <a:pt x="527" y="344"/>
                      <a:pt x="523" y="339"/>
                      <a:pt x="517" y="339"/>
                    </a:cubicBezTo>
                    <a:cubicBezTo>
                      <a:pt x="10" y="339"/>
                      <a:pt x="10" y="339"/>
                      <a:pt x="10" y="339"/>
                    </a:cubicBezTo>
                    <a:cubicBezTo>
                      <a:pt x="5" y="339"/>
                      <a:pt x="0" y="344"/>
                      <a:pt x="0" y="349"/>
                    </a:cubicBezTo>
                    <a:cubicBezTo>
                      <a:pt x="0" y="404"/>
                      <a:pt x="0" y="404"/>
                      <a:pt x="0" y="404"/>
                    </a:cubicBezTo>
                    <a:lnTo>
                      <a:pt x="527" y="626"/>
                    </a:lnTo>
                    <a:close/>
                    <a:moveTo>
                      <a:pt x="1097" y="413"/>
                    </a:moveTo>
                    <a:cubicBezTo>
                      <a:pt x="1087" y="415"/>
                      <a:pt x="1077" y="416"/>
                      <a:pt x="1067" y="416"/>
                    </a:cubicBezTo>
                    <a:cubicBezTo>
                      <a:pt x="1006" y="416"/>
                      <a:pt x="951" y="385"/>
                      <a:pt x="917" y="339"/>
                    </a:cubicBezTo>
                    <a:cubicBezTo>
                      <a:pt x="581" y="339"/>
                      <a:pt x="581" y="339"/>
                      <a:pt x="581" y="339"/>
                    </a:cubicBezTo>
                    <a:cubicBezTo>
                      <a:pt x="575" y="339"/>
                      <a:pt x="571" y="344"/>
                      <a:pt x="571" y="349"/>
                    </a:cubicBezTo>
                    <a:cubicBezTo>
                      <a:pt x="571" y="624"/>
                      <a:pt x="571" y="624"/>
                      <a:pt x="571" y="624"/>
                    </a:cubicBezTo>
                    <a:cubicBezTo>
                      <a:pt x="571" y="630"/>
                      <a:pt x="575" y="634"/>
                      <a:pt x="581" y="634"/>
                    </a:cubicBezTo>
                    <a:cubicBezTo>
                      <a:pt x="893" y="634"/>
                      <a:pt x="893" y="634"/>
                      <a:pt x="893" y="634"/>
                    </a:cubicBezTo>
                    <a:cubicBezTo>
                      <a:pt x="1098" y="525"/>
                      <a:pt x="1098" y="525"/>
                      <a:pt x="1098" y="525"/>
                    </a:cubicBezTo>
                    <a:cubicBezTo>
                      <a:pt x="1098" y="414"/>
                      <a:pt x="1098" y="414"/>
                      <a:pt x="1098" y="414"/>
                    </a:cubicBezTo>
                    <a:cubicBezTo>
                      <a:pt x="1097" y="414"/>
                      <a:pt x="1097" y="414"/>
                      <a:pt x="1097" y="4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grpSp>
          <p:nvGrpSpPr>
            <p:cNvPr id="20" name="Group 19"/>
            <p:cNvGrpSpPr>
              <a:grpSpLocks noChangeAspect="1"/>
            </p:cNvGrpSpPr>
            <p:nvPr/>
          </p:nvGrpSpPr>
          <p:grpSpPr>
            <a:xfrm>
              <a:off x="1840634" y="1481182"/>
              <a:ext cx="1200161" cy="1200161"/>
              <a:chOff x="5273039" y="2606040"/>
              <a:chExt cx="1645920" cy="1645920"/>
            </a:xfrm>
          </p:grpSpPr>
          <p:sp>
            <p:nvSpPr>
              <p:cNvPr id="44" name="AutoShape 19"/>
              <p:cNvSpPr>
                <a:spLocks noChangeAspect="1" noChangeArrowheads="1" noTextEdit="1"/>
              </p:cNvSpPr>
              <p:nvPr/>
            </p:nvSpPr>
            <p:spPr bwMode="auto">
              <a:xfrm>
                <a:off x="5273039"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nvGrpSpPr>
              <p:cNvPr id="45" name="Group 44"/>
              <p:cNvGrpSpPr/>
              <p:nvPr/>
            </p:nvGrpSpPr>
            <p:grpSpPr>
              <a:xfrm>
                <a:off x="5735332" y="2774418"/>
                <a:ext cx="721335" cy="1309164"/>
                <a:chOff x="5735332" y="2774418"/>
                <a:chExt cx="721335" cy="1309164"/>
              </a:xfrm>
            </p:grpSpPr>
            <p:sp>
              <p:nvSpPr>
                <p:cNvPr id="46" name="Freeform 21"/>
                <p:cNvSpPr>
                  <a:spLocks/>
                </p:cNvSpPr>
                <p:nvPr/>
              </p:nvSpPr>
              <p:spPr bwMode="auto">
                <a:xfrm>
                  <a:off x="5966478" y="2967705"/>
                  <a:ext cx="482218" cy="1002298"/>
                </a:xfrm>
                <a:custGeom>
                  <a:avLst/>
                  <a:gdLst>
                    <a:gd name="T0" fmla="*/ 186 w 673"/>
                    <a:gd name="T1" fmla="*/ 1402 h 1402"/>
                    <a:gd name="T2" fmla="*/ 566 w 673"/>
                    <a:gd name="T3" fmla="*/ 1402 h 1402"/>
                    <a:gd name="T4" fmla="*/ 540 w 673"/>
                    <a:gd name="T5" fmla="*/ 0 h 1402"/>
                    <a:gd name="T6" fmla="*/ 428 w 673"/>
                    <a:gd name="T7" fmla="*/ 0 h 1402"/>
                    <a:gd name="T8" fmla="*/ 186 w 673"/>
                    <a:gd name="T9" fmla="*/ 1402 h 1402"/>
                  </a:gdLst>
                  <a:ahLst/>
                  <a:cxnLst>
                    <a:cxn ang="0">
                      <a:pos x="T0" y="T1"/>
                    </a:cxn>
                    <a:cxn ang="0">
                      <a:pos x="T2" y="T3"/>
                    </a:cxn>
                    <a:cxn ang="0">
                      <a:pos x="T4" y="T5"/>
                    </a:cxn>
                    <a:cxn ang="0">
                      <a:pos x="T6" y="T7"/>
                    </a:cxn>
                    <a:cxn ang="0">
                      <a:pos x="T8" y="T9"/>
                    </a:cxn>
                  </a:cxnLst>
                  <a:rect l="0" t="0" r="r" b="b"/>
                  <a:pathLst>
                    <a:path w="673" h="1402">
                      <a:moveTo>
                        <a:pt x="186" y="1402"/>
                      </a:moveTo>
                      <a:cubicBezTo>
                        <a:pt x="566" y="1402"/>
                        <a:pt x="566" y="1402"/>
                        <a:pt x="566" y="1402"/>
                      </a:cubicBezTo>
                      <a:cubicBezTo>
                        <a:pt x="673" y="1084"/>
                        <a:pt x="176" y="554"/>
                        <a:pt x="540" y="0"/>
                      </a:cubicBezTo>
                      <a:cubicBezTo>
                        <a:pt x="428" y="0"/>
                        <a:pt x="428" y="0"/>
                        <a:pt x="428" y="0"/>
                      </a:cubicBezTo>
                      <a:cubicBezTo>
                        <a:pt x="0" y="564"/>
                        <a:pt x="489" y="981"/>
                        <a:pt x="186" y="1402"/>
                      </a:cubicBezTo>
                      <a:close/>
                    </a:path>
                  </a:pathLst>
                </a:custGeom>
                <a:solidFill>
                  <a:schemeClr val="tx2"/>
                </a:solidFill>
                <a:ln>
                  <a:noFill/>
                </a:ln>
                <a:extLst/>
              </p:spPr>
              <p:txBody>
                <a:bodyPr vert="horz" wrap="square" lIns="32918" tIns="16459" rIns="32918" bIns="16459" numCol="1" anchor="t" anchorCtr="0" compatLnSpc="1">
                  <a:prstTxWarp prst="textNoShape">
                    <a:avLst/>
                  </a:prstTxWarp>
                </a:bodyPr>
                <a:lstStyle/>
                <a:p>
                  <a:endParaRPr lang="en-US" dirty="0"/>
                </a:p>
              </p:txBody>
            </p:sp>
            <p:sp>
              <p:nvSpPr>
                <p:cNvPr id="47" name="Freeform 22"/>
                <p:cNvSpPr>
                  <a:spLocks noEditPoints="1"/>
                </p:cNvSpPr>
                <p:nvPr/>
              </p:nvSpPr>
              <p:spPr bwMode="auto">
                <a:xfrm>
                  <a:off x="5735332" y="2774418"/>
                  <a:ext cx="721335" cy="1309164"/>
                </a:xfrm>
                <a:custGeom>
                  <a:avLst/>
                  <a:gdLst>
                    <a:gd name="T0" fmla="*/ 952 w 1008"/>
                    <a:gd name="T1" fmla="*/ 182 h 1834"/>
                    <a:gd name="T2" fmla="*/ 952 w 1008"/>
                    <a:gd name="T3" fmla="*/ 145 h 1834"/>
                    <a:gd name="T4" fmla="*/ 961 w 1008"/>
                    <a:gd name="T5" fmla="*/ 144 h 1834"/>
                    <a:gd name="T6" fmla="*/ 983 w 1008"/>
                    <a:gd name="T7" fmla="*/ 94 h 1834"/>
                    <a:gd name="T8" fmla="*/ 910 w 1008"/>
                    <a:gd name="T9" fmla="*/ 72 h 1834"/>
                    <a:gd name="T10" fmla="*/ 866 w 1008"/>
                    <a:gd name="T11" fmla="*/ 0 h 1834"/>
                    <a:gd name="T12" fmla="*/ 586 w 1008"/>
                    <a:gd name="T13" fmla="*/ 44 h 1834"/>
                    <a:gd name="T14" fmla="*/ 56 w 1008"/>
                    <a:gd name="T15" fmla="*/ 72 h 1834"/>
                    <a:gd name="T16" fmla="*/ 33 w 1008"/>
                    <a:gd name="T17" fmla="*/ 122 h 1834"/>
                    <a:gd name="T18" fmla="*/ 65 w 1008"/>
                    <a:gd name="T19" fmla="*/ 144 h 1834"/>
                    <a:gd name="T20" fmla="*/ 65 w 1008"/>
                    <a:gd name="T21" fmla="*/ 181 h 1834"/>
                    <a:gd name="T22" fmla="*/ 44 w 1008"/>
                    <a:gd name="T23" fmla="*/ 182 h 1834"/>
                    <a:gd name="T24" fmla="*/ 0 w 1008"/>
                    <a:gd name="T25" fmla="*/ 1720 h 1834"/>
                    <a:gd name="T26" fmla="*/ 66 w 1008"/>
                    <a:gd name="T27" fmla="*/ 1764 h 1834"/>
                    <a:gd name="T28" fmla="*/ 66 w 1008"/>
                    <a:gd name="T29" fmla="*/ 1789 h 1834"/>
                    <a:gd name="T30" fmla="*/ 909 w 1008"/>
                    <a:gd name="T31" fmla="*/ 1834 h 1834"/>
                    <a:gd name="T32" fmla="*/ 953 w 1008"/>
                    <a:gd name="T33" fmla="*/ 1765 h 1834"/>
                    <a:gd name="T34" fmla="*/ 964 w 1008"/>
                    <a:gd name="T35" fmla="*/ 1764 h 1834"/>
                    <a:gd name="T36" fmla="*/ 1008 w 1008"/>
                    <a:gd name="T37" fmla="*/ 226 h 1834"/>
                    <a:gd name="T38" fmla="*/ 630 w 1008"/>
                    <a:gd name="T39" fmla="*/ 44 h 1834"/>
                    <a:gd name="T40" fmla="*/ 866 w 1008"/>
                    <a:gd name="T41" fmla="*/ 44 h 1834"/>
                    <a:gd name="T42" fmla="*/ 866 w 1008"/>
                    <a:gd name="T43" fmla="*/ 72 h 1834"/>
                    <a:gd name="T44" fmla="*/ 630 w 1008"/>
                    <a:gd name="T45" fmla="*/ 44 h 1834"/>
                    <a:gd name="T46" fmla="*/ 109 w 1008"/>
                    <a:gd name="T47" fmla="*/ 145 h 1834"/>
                    <a:gd name="T48" fmla="*/ 907 w 1008"/>
                    <a:gd name="T49" fmla="*/ 145 h 1834"/>
                    <a:gd name="T50" fmla="*/ 908 w 1008"/>
                    <a:gd name="T51" fmla="*/ 181 h 1834"/>
                    <a:gd name="T52" fmla="*/ 109 w 1008"/>
                    <a:gd name="T53" fmla="*/ 182 h 1834"/>
                    <a:gd name="T54" fmla="*/ 909 w 1008"/>
                    <a:gd name="T55" fmla="*/ 1789 h 1834"/>
                    <a:gd name="T56" fmla="*/ 110 w 1008"/>
                    <a:gd name="T57" fmla="*/ 1790 h 1834"/>
                    <a:gd name="T58" fmla="*/ 110 w 1008"/>
                    <a:gd name="T59" fmla="*/ 1765 h 1834"/>
                    <a:gd name="T60" fmla="*/ 909 w 1008"/>
                    <a:gd name="T61" fmla="*/ 1764 h 1834"/>
                    <a:gd name="T62" fmla="*/ 909 w 1008"/>
                    <a:gd name="T63" fmla="*/ 1789 h 1834"/>
                    <a:gd name="T64" fmla="*/ 964 w 1008"/>
                    <a:gd name="T65" fmla="*/ 1720 h 1834"/>
                    <a:gd name="T66" fmla="*/ 909 w 1008"/>
                    <a:gd name="T67" fmla="*/ 1720 h 1834"/>
                    <a:gd name="T68" fmla="*/ 109 w 1008"/>
                    <a:gd name="T69" fmla="*/ 1720 h 1834"/>
                    <a:gd name="T70" fmla="*/ 44 w 1008"/>
                    <a:gd name="T71" fmla="*/ 225 h 1834"/>
                    <a:gd name="T72" fmla="*/ 109 w 1008"/>
                    <a:gd name="T73" fmla="*/ 226 h 1834"/>
                    <a:gd name="T74" fmla="*/ 908 w 1008"/>
                    <a:gd name="T75" fmla="*/ 226 h 1834"/>
                    <a:gd name="T76" fmla="*/ 965 w 1008"/>
                    <a:gd name="T77" fmla="*/ 1720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8" h="1834">
                      <a:moveTo>
                        <a:pt x="964" y="182"/>
                      </a:moveTo>
                      <a:cubicBezTo>
                        <a:pt x="952" y="182"/>
                        <a:pt x="952" y="182"/>
                        <a:pt x="952" y="182"/>
                      </a:cubicBezTo>
                      <a:cubicBezTo>
                        <a:pt x="952" y="182"/>
                        <a:pt x="952" y="182"/>
                        <a:pt x="952" y="181"/>
                      </a:cubicBezTo>
                      <a:cubicBezTo>
                        <a:pt x="952" y="145"/>
                        <a:pt x="952" y="145"/>
                        <a:pt x="952" y="145"/>
                      </a:cubicBezTo>
                      <a:cubicBezTo>
                        <a:pt x="952" y="145"/>
                        <a:pt x="952" y="145"/>
                        <a:pt x="952" y="144"/>
                      </a:cubicBezTo>
                      <a:cubicBezTo>
                        <a:pt x="961" y="144"/>
                        <a:pt x="961" y="144"/>
                        <a:pt x="961" y="144"/>
                      </a:cubicBezTo>
                      <a:cubicBezTo>
                        <a:pt x="973" y="144"/>
                        <a:pt x="983" y="134"/>
                        <a:pt x="983" y="122"/>
                      </a:cubicBezTo>
                      <a:cubicBezTo>
                        <a:pt x="983" y="94"/>
                        <a:pt x="983" y="94"/>
                        <a:pt x="983" y="94"/>
                      </a:cubicBezTo>
                      <a:cubicBezTo>
                        <a:pt x="983" y="82"/>
                        <a:pt x="973" y="72"/>
                        <a:pt x="961" y="72"/>
                      </a:cubicBezTo>
                      <a:cubicBezTo>
                        <a:pt x="910" y="72"/>
                        <a:pt x="910" y="72"/>
                        <a:pt x="910" y="72"/>
                      </a:cubicBezTo>
                      <a:cubicBezTo>
                        <a:pt x="910" y="44"/>
                        <a:pt x="910" y="44"/>
                        <a:pt x="910" y="44"/>
                      </a:cubicBezTo>
                      <a:cubicBezTo>
                        <a:pt x="910" y="20"/>
                        <a:pt x="890" y="0"/>
                        <a:pt x="866" y="0"/>
                      </a:cubicBezTo>
                      <a:cubicBezTo>
                        <a:pt x="630" y="0"/>
                        <a:pt x="630" y="0"/>
                        <a:pt x="630" y="0"/>
                      </a:cubicBezTo>
                      <a:cubicBezTo>
                        <a:pt x="606" y="0"/>
                        <a:pt x="586" y="20"/>
                        <a:pt x="586" y="44"/>
                      </a:cubicBezTo>
                      <a:cubicBezTo>
                        <a:pt x="586" y="72"/>
                        <a:pt x="586" y="72"/>
                        <a:pt x="586" y="72"/>
                      </a:cubicBezTo>
                      <a:cubicBezTo>
                        <a:pt x="56" y="72"/>
                        <a:pt x="56" y="72"/>
                        <a:pt x="56" y="72"/>
                      </a:cubicBezTo>
                      <a:cubicBezTo>
                        <a:pt x="43" y="72"/>
                        <a:pt x="33" y="82"/>
                        <a:pt x="33" y="94"/>
                      </a:cubicBezTo>
                      <a:cubicBezTo>
                        <a:pt x="33" y="122"/>
                        <a:pt x="33" y="122"/>
                        <a:pt x="33" y="122"/>
                      </a:cubicBezTo>
                      <a:cubicBezTo>
                        <a:pt x="33" y="134"/>
                        <a:pt x="43" y="144"/>
                        <a:pt x="56" y="144"/>
                      </a:cubicBezTo>
                      <a:cubicBezTo>
                        <a:pt x="65" y="144"/>
                        <a:pt x="65" y="144"/>
                        <a:pt x="65" y="144"/>
                      </a:cubicBezTo>
                      <a:cubicBezTo>
                        <a:pt x="65" y="145"/>
                        <a:pt x="65" y="145"/>
                        <a:pt x="65" y="145"/>
                      </a:cubicBezTo>
                      <a:cubicBezTo>
                        <a:pt x="65" y="181"/>
                        <a:pt x="65" y="181"/>
                        <a:pt x="65" y="181"/>
                      </a:cubicBezTo>
                      <a:cubicBezTo>
                        <a:pt x="65" y="182"/>
                        <a:pt x="65" y="182"/>
                        <a:pt x="65" y="182"/>
                      </a:cubicBezTo>
                      <a:cubicBezTo>
                        <a:pt x="44" y="182"/>
                        <a:pt x="44" y="182"/>
                        <a:pt x="44" y="182"/>
                      </a:cubicBezTo>
                      <a:cubicBezTo>
                        <a:pt x="20" y="182"/>
                        <a:pt x="0" y="202"/>
                        <a:pt x="0" y="226"/>
                      </a:cubicBezTo>
                      <a:cubicBezTo>
                        <a:pt x="0" y="1720"/>
                        <a:pt x="0" y="1720"/>
                        <a:pt x="0" y="1720"/>
                      </a:cubicBezTo>
                      <a:cubicBezTo>
                        <a:pt x="0" y="1744"/>
                        <a:pt x="20" y="1764"/>
                        <a:pt x="44" y="1764"/>
                      </a:cubicBezTo>
                      <a:cubicBezTo>
                        <a:pt x="66" y="1764"/>
                        <a:pt x="66" y="1764"/>
                        <a:pt x="66" y="1764"/>
                      </a:cubicBezTo>
                      <a:cubicBezTo>
                        <a:pt x="66" y="1764"/>
                        <a:pt x="66" y="1764"/>
                        <a:pt x="66" y="1765"/>
                      </a:cubicBezTo>
                      <a:cubicBezTo>
                        <a:pt x="66" y="1789"/>
                        <a:pt x="66" y="1789"/>
                        <a:pt x="66" y="1789"/>
                      </a:cubicBezTo>
                      <a:cubicBezTo>
                        <a:pt x="66" y="1814"/>
                        <a:pt x="85" y="1834"/>
                        <a:pt x="110" y="1834"/>
                      </a:cubicBezTo>
                      <a:cubicBezTo>
                        <a:pt x="909" y="1834"/>
                        <a:pt x="909" y="1834"/>
                        <a:pt x="909" y="1834"/>
                      </a:cubicBezTo>
                      <a:cubicBezTo>
                        <a:pt x="933" y="1834"/>
                        <a:pt x="953" y="1814"/>
                        <a:pt x="953" y="1789"/>
                      </a:cubicBezTo>
                      <a:cubicBezTo>
                        <a:pt x="953" y="1765"/>
                        <a:pt x="953" y="1765"/>
                        <a:pt x="953" y="1765"/>
                      </a:cubicBezTo>
                      <a:cubicBezTo>
                        <a:pt x="953" y="1764"/>
                        <a:pt x="953" y="1764"/>
                        <a:pt x="953" y="1764"/>
                      </a:cubicBezTo>
                      <a:cubicBezTo>
                        <a:pt x="964" y="1764"/>
                        <a:pt x="964" y="1764"/>
                        <a:pt x="964" y="1764"/>
                      </a:cubicBezTo>
                      <a:cubicBezTo>
                        <a:pt x="988" y="1764"/>
                        <a:pt x="1008" y="1744"/>
                        <a:pt x="1008" y="1720"/>
                      </a:cubicBezTo>
                      <a:cubicBezTo>
                        <a:pt x="1008" y="226"/>
                        <a:pt x="1008" y="226"/>
                        <a:pt x="1008" y="226"/>
                      </a:cubicBezTo>
                      <a:cubicBezTo>
                        <a:pt x="1008" y="202"/>
                        <a:pt x="988" y="182"/>
                        <a:pt x="964" y="182"/>
                      </a:cubicBezTo>
                      <a:close/>
                      <a:moveTo>
                        <a:pt x="630" y="44"/>
                      </a:moveTo>
                      <a:cubicBezTo>
                        <a:pt x="630" y="44"/>
                        <a:pt x="630" y="44"/>
                        <a:pt x="630" y="44"/>
                      </a:cubicBezTo>
                      <a:cubicBezTo>
                        <a:pt x="866" y="44"/>
                        <a:pt x="866" y="44"/>
                        <a:pt x="866" y="44"/>
                      </a:cubicBezTo>
                      <a:cubicBezTo>
                        <a:pt x="866" y="44"/>
                        <a:pt x="866" y="44"/>
                        <a:pt x="866" y="44"/>
                      </a:cubicBezTo>
                      <a:cubicBezTo>
                        <a:pt x="866" y="72"/>
                        <a:pt x="866" y="72"/>
                        <a:pt x="866" y="72"/>
                      </a:cubicBezTo>
                      <a:cubicBezTo>
                        <a:pt x="630" y="72"/>
                        <a:pt x="630" y="72"/>
                        <a:pt x="630" y="72"/>
                      </a:cubicBezTo>
                      <a:lnTo>
                        <a:pt x="630" y="44"/>
                      </a:lnTo>
                      <a:close/>
                      <a:moveTo>
                        <a:pt x="109" y="181"/>
                      </a:moveTo>
                      <a:cubicBezTo>
                        <a:pt x="109" y="145"/>
                        <a:pt x="109" y="145"/>
                        <a:pt x="109" y="145"/>
                      </a:cubicBezTo>
                      <a:cubicBezTo>
                        <a:pt x="109" y="145"/>
                        <a:pt x="109" y="145"/>
                        <a:pt x="109" y="145"/>
                      </a:cubicBezTo>
                      <a:cubicBezTo>
                        <a:pt x="907" y="145"/>
                        <a:pt x="907" y="145"/>
                        <a:pt x="907" y="145"/>
                      </a:cubicBezTo>
                      <a:cubicBezTo>
                        <a:pt x="908" y="145"/>
                        <a:pt x="908" y="145"/>
                        <a:pt x="908" y="145"/>
                      </a:cubicBezTo>
                      <a:cubicBezTo>
                        <a:pt x="908" y="181"/>
                        <a:pt x="908" y="181"/>
                        <a:pt x="908" y="181"/>
                      </a:cubicBezTo>
                      <a:cubicBezTo>
                        <a:pt x="908" y="182"/>
                        <a:pt x="908" y="182"/>
                        <a:pt x="907" y="182"/>
                      </a:cubicBezTo>
                      <a:cubicBezTo>
                        <a:pt x="109" y="182"/>
                        <a:pt x="109" y="182"/>
                        <a:pt x="109" y="182"/>
                      </a:cubicBezTo>
                      <a:cubicBezTo>
                        <a:pt x="109" y="182"/>
                        <a:pt x="109" y="182"/>
                        <a:pt x="109" y="181"/>
                      </a:cubicBezTo>
                      <a:close/>
                      <a:moveTo>
                        <a:pt x="909" y="1789"/>
                      </a:moveTo>
                      <a:cubicBezTo>
                        <a:pt x="909" y="1790"/>
                        <a:pt x="909" y="1790"/>
                        <a:pt x="909" y="1790"/>
                      </a:cubicBezTo>
                      <a:cubicBezTo>
                        <a:pt x="110" y="1790"/>
                        <a:pt x="110" y="1790"/>
                        <a:pt x="110" y="1790"/>
                      </a:cubicBezTo>
                      <a:cubicBezTo>
                        <a:pt x="110" y="1790"/>
                        <a:pt x="110" y="1790"/>
                        <a:pt x="110" y="1789"/>
                      </a:cubicBezTo>
                      <a:cubicBezTo>
                        <a:pt x="110" y="1765"/>
                        <a:pt x="110" y="1765"/>
                        <a:pt x="110" y="1765"/>
                      </a:cubicBezTo>
                      <a:cubicBezTo>
                        <a:pt x="110" y="1764"/>
                        <a:pt x="110" y="1764"/>
                        <a:pt x="110" y="1764"/>
                      </a:cubicBezTo>
                      <a:cubicBezTo>
                        <a:pt x="909" y="1764"/>
                        <a:pt x="909" y="1764"/>
                        <a:pt x="909" y="1764"/>
                      </a:cubicBezTo>
                      <a:cubicBezTo>
                        <a:pt x="909" y="1764"/>
                        <a:pt x="909" y="1764"/>
                        <a:pt x="909" y="1765"/>
                      </a:cubicBezTo>
                      <a:lnTo>
                        <a:pt x="909" y="1789"/>
                      </a:lnTo>
                      <a:close/>
                      <a:moveTo>
                        <a:pt x="965" y="1720"/>
                      </a:moveTo>
                      <a:cubicBezTo>
                        <a:pt x="965" y="1720"/>
                        <a:pt x="964" y="1720"/>
                        <a:pt x="964" y="1720"/>
                      </a:cubicBezTo>
                      <a:cubicBezTo>
                        <a:pt x="913" y="1720"/>
                        <a:pt x="913" y="1720"/>
                        <a:pt x="913" y="1720"/>
                      </a:cubicBezTo>
                      <a:cubicBezTo>
                        <a:pt x="912" y="1720"/>
                        <a:pt x="910" y="1720"/>
                        <a:pt x="909" y="1720"/>
                      </a:cubicBezTo>
                      <a:cubicBezTo>
                        <a:pt x="110" y="1720"/>
                        <a:pt x="110" y="1720"/>
                        <a:pt x="110" y="1720"/>
                      </a:cubicBezTo>
                      <a:cubicBezTo>
                        <a:pt x="110" y="1720"/>
                        <a:pt x="109" y="1720"/>
                        <a:pt x="109" y="1720"/>
                      </a:cubicBezTo>
                      <a:cubicBezTo>
                        <a:pt x="43" y="1720"/>
                        <a:pt x="43" y="1720"/>
                        <a:pt x="43" y="1720"/>
                      </a:cubicBezTo>
                      <a:cubicBezTo>
                        <a:pt x="44" y="225"/>
                        <a:pt x="44" y="225"/>
                        <a:pt x="44" y="225"/>
                      </a:cubicBezTo>
                      <a:cubicBezTo>
                        <a:pt x="104" y="225"/>
                        <a:pt x="104" y="225"/>
                        <a:pt x="104" y="225"/>
                      </a:cubicBezTo>
                      <a:cubicBezTo>
                        <a:pt x="106" y="226"/>
                        <a:pt x="107" y="226"/>
                        <a:pt x="109" y="226"/>
                      </a:cubicBezTo>
                      <a:cubicBezTo>
                        <a:pt x="907" y="226"/>
                        <a:pt x="907" y="226"/>
                        <a:pt x="907" y="226"/>
                      </a:cubicBezTo>
                      <a:cubicBezTo>
                        <a:pt x="908" y="226"/>
                        <a:pt x="908" y="226"/>
                        <a:pt x="908" y="226"/>
                      </a:cubicBezTo>
                      <a:cubicBezTo>
                        <a:pt x="965" y="226"/>
                        <a:pt x="965" y="226"/>
                        <a:pt x="965" y="226"/>
                      </a:cubicBezTo>
                      <a:lnTo>
                        <a:pt x="965" y="1720"/>
                      </a:lnTo>
                      <a:close/>
                    </a:path>
                  </a:pathLst>
                </a:custGeom>
                <a:solidFill>
                  <a:schemeClr val="accent1"/>
                </a:solidFill>
                <a:ln>
                  <a:noFill/>
                </a:ln>
                <a:extLst/>
              </p:spPr>
              <p:txBody>
                <a:bodyPr vert="horz" wrap="square" lIns="32918" tIns="16459" rIns="32918" bIns="16459" numCol="1" anchor="t" anchorCtr="0" compatLnSpc="1">
                  <a:prstTxWarp prst="textNoShape">
                    <a:avLst/>
                  </a:prstTxWarp>
                </a:bodyPr>
                <a:lstStyle/>
                <a:p>
                  <a:endParaRPr lang="en-US" dirty="0"/>
                </a:p>
              </p:txBody>
            </p:sp>
          </p:grpSp>
        </p:grpSp>
        <p:cxnSp>
          <p:nvCxnSpPr>
            <p:cNvPr id="21" name="Straight Arrow Connector 20"/>
            <p:cNvCxnSpPr/>
            <p:nvPr/>
          </p:nvCxnSpPr>
          <p:spPr>
            <a:xfrm flipH="1" flipV="1">
              <a:off x="2936838" y="2558566"/>
              <a:ext cx="613186" cy="432060"/>
            </a:xfrm>
            <a:prstGeom prst="straightConnector1">
              <a:avLst/>
            </a:prstGeom>
            <a:ln w="13716"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2247491" y="3925212"/>
              <a:ext cx="999234" cy="0"/>
            </a:xfrm>
            <a:prstGeom prst="straightConnector1">
              <a:avLst/>
            </a:prstGeom>
            <a:ln w="13716"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8824712" y="3925212"/>
              <a:ext cx="1115354" cy="0"/>
            </a:xfrm>
            <a:prstGeom prst="straightConnector1">
              <a:avLst/>
            </a:prstGeom>
            <a:ln w="13716"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8210257" y="2442163"/>
              <a:ext cx="614455" cy="361521"/>
            </a:xfrm>
            <a:prstGeom prst="straightConnector1">
              <a:avLst/>
            </a:prstGeom>
            <a:ln w="13716"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5" name="Group 24"/>
            <p:cNvGrpSpPr>
              <a:grpSpLocks noChangeAspect="1"/>
            </p:cNvGrpSpPr>
            <p:nvPr/>
          </p:nvGrpSpPr>
          <p:grpSpPr>
            <a:xfrm>
              <a:off x="3550024" y="5013826"/>
              <a:ext cx="1200392" cy="1200393"/>
              <a:chOff x="5275263" y="2641600"/>
              <a:chExt cx="1646237" cy="1646238"/>
            </a:xfrm>
          </p:grpSpPr>
          <p:sp>
            <p:nvSpPr>
              <p:cNvPr id="40" name="AutoShape 3"/>
              <p:cNvSpPr>
                <a:spLocks noChangeAspect="1" noChangeArrowheads="1" noTextEdit="1"/>
              </p:cNvSpPr>
              <p:nvPr/>
            </p:nvSpPr>
            <p:spPr bwMode="auto">
              <a:xfrm>
                <a:off x="5275263" y="2641600"/>
                <a:ext cx="1646237"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2918" tIns="16459" rIns="32918" bIns="16459" numCol="1" anchor="t" anchorCtr="0" compatLnSpc="1">
                <a:prstTxWarp prst="textNoShape">
                  <a:avLst/>
                </a:prstTxWarp>
              </a:bodyPr>
              <a:lstStyle/>
              <a:p>
                <a:endParaRPr lang="en-US" dirty="0"/>
              </a:p>
            </p:txBody>
          </p:sp>
          <p:grpSp>
            <p:nvGrpSpPr>
              <p:cNvPr id="41" name="Group 40"/>
              <p:cNvGrpSpPr/>
              <p:nvPr/>
            </p:nvGrpSpPr>
            <p:grpSpPr>
              <a:xfrm>
                <a:off x="5854999" y="2811462"/>
                <a:ext cx="486526" cy="1306512"/>
                <a:chOff x="5854999" y="2811462"/>
                <a:chExt cx="486526" cy="1306512"/>
              </a:xfrm>
            </p:grpSpPr>
            <p:sp>
              <p:nvSpPr>
                <p:cNvPr id="42" name="Freeform 41"/>
                <p:cNvSpPr>
                  <a:spLocks/>
                </p:cNvSpPr>
                <p:nvPr/>
              </p:nvSpPr>
              <p:spPr bwMode="auto">
                <a:xfrm>
                  <a:off x="5854999" y="2811462"/>
                  <a:ext cx="486526" cy="1306512"/>
                </a:xfrm>
                <a:custGeom>
                  <a:avLst/>
                  <a:gdLst>
                    <a:gd name="connsiteX0" fmla="*/ 241155 w 486526"/>
                    <a:gd name="connsiteY0" fmla="*/ 868362 h 1306512"/>
                    <a:gd name="connsiteX1" fmla="*/ 231118 w 486526"/>
                    <a:gd name="connsiteY1" fmla="*/ 878361 h 1306512"/>
                    <a:gd name="connsiteX2" fmla="*/ 223232 w 486526"/>
                    <a:gd name="connsiteY2" fmla="*/ 959070 h 1306512"/>
                    <a:gd name="connsiteX3" fmla="*/ 199573 w 486526"/>
                    <a:gd name="connsiteY3" fmla="*/ 1219766 h 1306512"/>
                    <a:gd name="connsiteX4" fmla="*/ 208893 w 486526"/>
                    <a:gd name="connsiteY4" fmla="*/ 1264049 h 1306512"/>
                    <a:gd name="connsiteX5" fmla="*/ 244023 w 486526"/>
                    <a:gd name="connsiteY5" fmla="*/ 1274762 h 1306512"/>
                    <a:gd name="connsiteX6" fmla="*/ 246174 w 486526"/>
                    <a:gd name="connsiteY6" fmla="*/ 1274762 h 1306512"/>
                    <a:gd name="connsiteX7" fmla="*/ 277002 w 486526"/>
                    <a:gd name="connsiteY7" fmla="*/ 1264049 h 1306512"/>
                    <a:gd name="connsiteX8" fmla="*/ 285605 w 486526"/>
                    <a:gd name="connsiteY8" fmla="*/ 1219052 h 1306512"/>
                    <a:gd name="connsiteX9" fmla="*/ 273417 w 486526"/>
                    <a:gd name="connsiteY9" fmla="*/ 1063348 h 1306512"/>
                    <a:gd name="connsiteX10" fmla="*/ 261230 w 486526"/>
                    <a:gd name="connsiteY10" fmla="*/ 901931 h 1306512"/>
                    <a:gd name="connsiteX11" fmla="*/ 254060 w 486526"/>
                    <a:gd name="connsiteY11" fmla="*/ 873362 h 1306512"/>
                    <a:gd name="connsiteX12" fmla="*/ 241872 w 486526"/>
                    <a:gd name="connsiteY12" fmla="*/ 868362 h 1306512"/>
                    <a:gd name="connsiteX13" fmla="*/ 241155 w 486526"/>
                    <a:gd name="connsiteY13" fmla="*/ 868362 h 1306512"/>
                    <a:gd name="connsiteX14" fmla="*/ 241523 w 486526"/>
                    <a:gd name="connsiteY14" fmla="*/ 836612 h 1306512"/>
                    <a:gd name="connsiteX15" fmla="*/ 242944 w 486526"/>
                    <a:gd name="connsiteY15" fmla="*/ 836612 h 1306512"/>
                    <a:gd name="connsiteX16" fmla="*/ 243654 w 486526"/>
                    <a:gd name="connsiteY16" fmla="*/ 836612 h 1306512"/>
                    <a:gd name="connsiteX17" fmla="*/ 292671 w 486526"/>
                    <a:gd name="connsiteY17" fmla="*/ 899552 h 1306512"/>
                    <a:gd name="connsiteX18" fmla="*/ 316824 w 486526"/>
                    <a:gd name="connsiteY18" fmla="*/ 1217110 h 1306512"/>
                    <a:gd name="connsiteX19" fmla="*/ 247206 w 486526"/>
                    <a:gd name="connsiteY19" fmla="*/ 1306512 h 1306512"/>
                    <a:gd name="connsiteX20" fmla="*/ 244365 w 486526"/>
                    <a:gd name="connsiteY20" fmla="*/ 1306512 h 1306512"/>
                    <a:gd name="connsiteX21" fmla="*/ 169064 w 486526"/>
                    <a:gd name="connsiteY21" fmla="*/ 1217110 h 1306512"/>
                    <a:gd name="connsiteX22" fmla="*/ 200321 w 486526"/>
                    <a:gd name="connsiteY22" fmla="*/ 875234 h 1306512"/>
                    <a:gd name="connsiteX23" fmla="*/ 241523 w 486526"/>
                    <a:gd name="connsiteY23" fmla="*/ 836612 h 1306512"/>
                    <a:gd name="connsiteX24" fmla="*/ 237596 w 486526"/>
                    <a:gd name="connsiteY24" fmla="*/ 31750 h 1306512"/>
                    <a:gd name="connsiteX25" fmla="*/ 220476 w 486526"/>
                    <a:gd name="connsiteY25" fmla="*/ 32465 h 1306512"/>
                    <a:gd name="connsiteX26" fmla="*/ 163412 w 486526"/>
                    <a:gd name="connsiteY26" fmla="*/ 46044 h 1306512"/>
                    <a:gd name="connsiteX27" fmla="*/ 144866 w 486526"/>
                    <a:gd name="connsiteY27" fmla="*/ 54620 h 1306512"/>
                    <a:gd name="connsiteX28" fmla="*/ 104208 w 486526"/>
                    <a:gd name="connsiteY28" fmla="*/ 82492 h 1306512"/>
                    <a:gd name="connsiteX29" fmla="*/ 89942 w 486526"/>
                    <a:gd name="connsiteY29" fmla="*/ 96786 h 1306512"/>
                    <a:gd name="connsiteX30" fmla="*/ 82809 w 486526"/>
                    <a:gd name="connsiteY30" fmla="*/ 103933 h 1306512"/>
                    <a:gd name="connsiteX31" fmla="*/ 35731 w 486526"/>
                    <a:gd name="connsiteY31" fmla="*/ 196126 h 1306512"/>
                    <a:gd name="connsiteX32" fmla="*/ 32878 w 486526"/>
                    <a:gd name="connsiteY32" fmla="*/ 212564 h 1306512"/>
                    <a:gd name="connsiteX33" fmla="*/ 31451 w 486526"/>
                    <a:gd name="connsiteY33" fmla="*/ 223999 h 1306512"/>
                    <a:gd name="connsiteX34" fmla="*/ 31451 w 486526"/>
                    <a:gd name="connsiteY34" fmla="*/ 234719 h 1306512"/>
                    <a:gd name="connsiteX35" fmla="*/ 31451 w 486526"/>
                    <a:gd name="connsiteY35" fmla="*/ 240436 h 1306512"/>
                    <a:gd name="connsiteX36" fmla="*/ 32878 w 486526"/>
                    <a:gd name="connsiteY36" fmla="*/ 291893 h 1306512"/>
                    <a:gd name="connsiteX37" fmla="*/ 33591 w 486526"/>
                    <a:gd name="connsiteY37" fmla="*/ 343350 h 1306512"/>
                    <a:gd name="connsiteX38" fmla="*/ 34304 w 486526"/>
                    <a:gd name="connsiteY38" fmla="*/ 549893 h 1306512"/>
                    <a:gd name="connsiteX39" fmla="*/ 33591 w 486526"/>
                    <a:gd name="connsiteY39" fmla="*/ 600635 h 1306512"/>
                    <a:gd name="connsiteX40" fmla="*/ 32878 w 486526"/>
                    <a:gd name="connsiteY40" fmla="*/ 651377 h 1306512"/>
                    <a:gd name="connsiteX41" fmla="*/ 32165 w 486526"/>
                    <a:gd name="connsiteY41" fmla="*/ 709266 h 1306512"/>
                    <a:gd name="connsiteX42" fmla="*/ 48571 w 486526"/>
                    <a:gd name="connsiteY42" fmla="*/ 765011 h 1306512"/>
                    <a:gd name="connsiteX43" fmla="*/ 52850 w 486526"/>
                    <a:gd name="connsiteY43" fmla="*/ 768584 h 1306512"/>
                    <a:gd name="connsiteX44" fmla="*/ 54990 w 486526"/>
                    <a:gd name="connsiteY44" fmla="*/ 770014 h 1306512"/>
                    <a:gd name="connsiteX45" fmla="*/ 59983 w 486526"/>
                    <a:gd name="connsiteY45" fmla="*/ 772158 h 1306512"/>
                    <a:gd name="connsiteX46" fmla="*/ 64976 w 486526"/>
                    <a:gd name="connsiteY46" fmla="*/ 773587 h 1306512"/>
                    <a:gd name="connsiteX47" fmla="*/ 70683 w 486526"/>
                    <a:gd name="connsiteY47" fmla="*/ 775016 h 1306512"/>
                    <a:gd name="connsiteX48" fmla="*/ 73536 w 486526"/>
                    <a:gd name="connsiteY48" fmla="*/ 775731 h 1306512"/>
                    <a:gd name="connsiteX49" fmla="*/ 79956 w 486526"/>
                    <a:gd name="connsiteY49" fmla="*/ 776446 h 1306512"/>
                    <a:gd name="connsiteX50" fmla="*/ 89942 w 486526"/>
                    <a:gd name="connsiteY50" fmla="*/ 776446 h 1306512"/>
                    <a:gd name="connsiteX51" fmla="*/ 139160 w 486526"/>
                    <a:gd name="connsiteY51" fmla="*/ 777160 h 1306512"/>
                    <a:gd name="connsiteX52" fmla="*/ 191231 w 486526"/>
                    <a:gd name="connsiteY52" fmla="*/ 777875 h 1306512"/>
                    <a:gd name="connsiteX53" fmla="*/ 227609 w 486526"/>
                    <a:gd name="connsiteY53" fmla="*/ 777875 h 1306512"/>
                    <a:gd name="connsiteX54" fmla="*/ 395949 w 486526"/>
                    <a:gd name="connsiteY54" fmla="*/ 776446 h 1306512"/>
                    <a:gd name="connsiteX55" fmla="*/ 453013 w 486526"/>
                    <a:gd name="connsiteY55" fmla="*/ 723560 h 1306512"/>
                    <a:gd name="connsiteX56" fmla="*/ 453726 w 486526"/>
                    <a:gd name="connsiteY56" fmla="*/ 641371 h 1306512"/>
                    <a:gd name="connsiteX57" fmla="*/ 453726 w 486526"/>
                    <a:gd name="connsiteY57" fmla="*/ 396951 h 1306512"/>
                    <a:gd name="connsiteX58" fmla="*/ 453726 w 486526"/>
                    <a:gd name="connsiteY58" fmla="*/ 314048 h 1306512"/>
                    <a:gd name="connsiteX59" fmla="*/ 443740 w 486526"/>
                    <a:gd name="connsiteY59" fmla="*/ 311190 h 1306512"/>
                    <a:gd name="connsiteX60" fmla="*/ 433754 w 486526"/>
                    <a:gd name="connsiteY60" fmla="*/ 309046 h 1306512"/>
                    <a:gd name="connsiteX61" fmla="*/ 415921 w 486526"/>
                    <a:gd name="connsiteY61" fmla="*/ 302614 h 1306512"/>
                    <a:gd name="connsiteX62" fmla="*/ 383109 w 486526"/>
                    <a:gd name="connsiteY62" fmla="*/ 289035 h 1306512"/>
                    <a:gd name="connsiteX63" fmla="*/ 373123 w 486526"/>
                    <a:gd name="connsiteY63" fmla="*/ 284032 h 1306512"/>
                    <a:gd name="connsiteX64" fmla="*/ 355291 w 486526"/>
                    <a:gd name="connsiteY64" fmla="*/ 271882 h 1306512"/>
                    <a:gd name="connsiteX65" fmla="*/ 339598 w 486526"/>
                    <a:gd name="connsiteY65" fmla="*/ 259733 h 1306512"/>
                    <a:gd name="connsiteX66" fmla="*/ 332465 w 486526"/>
                    <a:gd name="connsiteY66" fmla="*/ 252586 h 1306512"/>
                    <a:gd name="connsiteX67" fmla="*/ 320339 w 486526"/>
                    <a:gd name="connsiteY67" fmla="*/ 237578 h 1306512"/>
                    <a:gd name="connsiteX68" fmla="*/ 315346 w 486526"/>
                    <a:gd name="connsiteY68" fmla="*/ 229716 h 1306512"/>
                    <a:gd name="connsiteX69" fmla="*/ 311066 w 486526"/>
                    <a:gd name="connsiteY69" fmla="*/ 221855 h 1306512"/>
                    <a:gd name="connsiteX70" fmla="*/ 306786 w 486526"/>
                    <a:gd name="connsiteY70" fmla="*/ 212564 h 1306512"/>
                    <a:gd name="connsiteX71" fmla="*/ 303219 w 486526"/>
                    <a:gd name="connsiteY71" fmla="*/ 203988 h 1306512"/>
                    <a:gd name="connsiteX72" fmla="*/ 296086 w 486526"/>
                    <a:gd name="connsiteY72" fmla="*/ 175401 h 1306512"/>
                    <a:gd name="connsiteX73" fmla="*/ 295373 w 486526"/>
                    <a:gd name="connsiteY73" fmla="*/ 133235 h 1306512"/>
                    <a:gd name="connsiteX74" fmla="*/ 296086 w 486526"/>
                    <a:gd name="connsiteY74" fmla="*/ 123229 h 1306512"/>
                    <a:gd name="connsiteX75" fmla="*/ 299653 w 486526"/>
                    <a:gd name="connsiteY75" fmla="*/ 102503 h 1306512"/>
                    <a:gd name="connsiteX76" fmla="*/ 304646 w 486526"/>
                    <a:gd name="connsiteY76" fmla="*/ 81063 h 1306512"/>
                    <a:gd name="connsiteX77" fmla="*/ 307499 w 486526"/>
                    <a:gd name="connsiteY77" fmla="*/ 72487 h 1306512"/>
                    <a:gd name="connsiteX78" fmla="*/ 313206 w 486526"/>
                    <a:gd name="connsiteY78" fmla="*/ 55335 h 1306512"/>
                    <a:gd name="connsiteX79" fmla="*/ 316772 w 486526"/>
                    <a:gd name="connsiteY79" fmla="*/ 46758 h 1306512"/>
                    <a:gd name="connsiteX80" fmla="*/ 301793 w 486526"/>
                    <a:gd name="connsiteY80" fmla="*/ 41756 h 1306512"/>
                    <a:gd name="connsiteX81" fmla="*/ 286813 w 486526"/>
                    <a:gd name="connsiteY81" fmla="*/ 37468 h 1306512"/>
                    <a:gd name="connsiteX82" fmla="*/ 237596 w 486526"/>
                    <a:gd name="connsiteY82" fmla="*/ 31750 h 1306512"/>
                    <a:gd name="connsiteX83" fmla="*/ 238219 w 486526"/>
                    <a:gd name="connsiteY83" fmla="*/ 0 h 1306512"/>
                    <a:gd name="connsiteX84" fmla="*/ 344050 w 486526"/>
                    <a:gd name="connsiteY84" fmla="*/ 22887 h 1306512"/>
                    <a:gd name="connsiteX85" fmla="*/ 352630 w 486526"/>
                    <a:gd name="connsiteY85" fmla="*/ 43628 h 1306512"/>
                    <a:gd name="connsiteX86" fmla="*/ 473477 w 486526"/>
                    <a:gd name="connsiteY86" fmla="*/ 286087 h 1306512"/>
                    <a:gd name="connsiteX87" fmla="*/ 486348 w 486526"/>
                    <a:gd name="connsiteY87" fmla="*/ 301106 h 1306512"/>
                    <a:gd name="connsiteX88" fmla="*/ 485633 w 486526"/>
                    <a:gd name="connsiteY88" fmla="*/ 723799 h 1306512"/>
                    <a:gd name="connsiteX89" fmla="*/ 396965 w 486526"/>
                    <a:gd name="connsiteY89" fmla="*/ 808195 h 1306512"/>
                    <a:gd name="connsiteX90" fmla="*/ 228208 w 486526"/>
                    <a:gd name="connsiteY90" fmla="*/ 809625 h 1306512"/>
                    <a:gd name="connsiteX91" fmla="*/ 89485 w 486526"/>
                    <a:gd name="connsiteY91" fmla="*/ 808195 h 1306512"/>
                    <a:gd name="connsiteX92" fmla="*/ 817 w 486526"/>
                    <a:gd name="connsiteY92" fmla="*/ 709495 h 1306512"/>
                    <a:gd name="connsiteX93" fmla="*/ 102 w 486526"/>
                    <a:gd name="connsiteY93" fmla="*/ 241743 h 1306512"/>
                    <a:gd name="connsiteX94" fmla="*/ 218197 w 486526"/>
                    <a:gd name="connsiteY94" fmla="*/ 715 h 1306512"/>
                    <a:gd name="connsiteX95" fmla="*/ 238219 w 486526"/>
                    <a:gd name="connsiteY95"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86526" h="1306512">
                      <a:moveTo>
                        <a:pt x="241155" y="868362"/>
                      </a:moveTo>
                      <a:cubicBezTo>
                        <a:pt x="236137" y="868362"/>
                        <a:pt x="231118" y="872648"/>
                        <a:pt x="231118" y="878361"/>
                      </a:cubicBezTo>
                      <a:cubicBezTo>
                        <a:pt x="228251" y="905502"/>
                        <a:pt x="226100" y="931929"/>
                        <a:pt x="223232" y="959070"/>
                      </a:cubicBezTo>
                      <a:cubicBezTo>
                        <a:pt x="215346" y="1044064"/>
                        <a:pt x="206742" y="1132629"/>
                        <a:pt x="199573" y="1219766"/>
                      </a:cubicBezTo>
                      <a:cubicBezTo>
                        <a:pt x="198139" y="1234051"/>
                        <a:pt x="198856" y="1253335"/>
                        <a:pt x="208893" y="1264049"/>
                      </a:cubicBezTo>
                      <a:cubicBezTo>
                        <a:pt x="215346" y="1271191"/>
                        <a:pt x="227534" y="1274762"/>
                        <a:pt x="244023" y="1274762"/>
                      </a:cubicBezTo>
                      <a:cubicBezTo>
                        <a:pt x="244740" y="1274762"/>
                        <a:pt x="245457" y="1274762"/>
                        <a:pt x="246174" y="1274762"/>
                      </a:cubicBezTo>
                      <a:cubicBezTo>
                        <a:pt x="260513" y="1274048"/>
                        <a:pt x="271267" y="1270477"/>
                        <a:pt x="277002" y="1264049"/>
                      </a:cubicBezTo>
                      <a:cubicBezTo>
                        <a:pt x="284172" y="1256192"/>
                        <a:pt x="287039" y="1240479"/>
                        <a:pt x="285605" y="1219052"/>
                      </a:cubicBezTo>
                      <a:cubicBezTo>
                        <a:pt x="282021" y="1166913"/>
                        <a:pt x="277719" y="1114059"/>
                        <a:pt x="273417" y="1063348"/>
                      </a:cubicBezTo>
                      <a:cubicBezTo>
                        <a:pt x="269116" y="1010495"/>
                        <a:pt x="264814" y="955499"/>
                        <a:pt x="261230" y="901931"/>
                      </a:cubicBezTo>
                      <a:cubicBezTo>
                        <a:pt x="259796" y="883361"/>
                        <a:pt x="256211" y="876219"/>
                        <a:pt x="254060" y="873362"/>
                      </a:cubicBezTo>
                      <a:cubicBezTo>
                        <a:pt x="252626" y="871219"/>
                        <a:pt x="250476" y="869076"/>
                        <a:pt x="241872" y="868362"/>
                      </a:cubicBezTo>
                      <a:cubicBezTo>
                        <a:pt x="241872" y="868362"/>
                        <a:pt x="241872" y="868362"/>
                        <a:pt x="241155" y="868362"/>
                      </a:cubicBezTo>
                      <a:close/>
                      <a:moveTo>
                        <a:pt x="241523" y="836612"/>
                      </a:moveTo>
                      <a:cubicBezTo>
                        <a:pt x="242234" y="836612"/>
                        <a:pt x="242234" y="836612"/>
                        <a:pt x="242944" y="836612"/>
                      </a:cubicBezTo>
                      <a:cubicBezTo>
                        <a:pt x="242944" y="836612"/>
                        <a:pt x="242944" y="836612"/>
                        <a:pt x="243654" y="836612"/>
                      </a:cubicBezTo>
                      <a:cubicBezTo>
                        <a:pt x="276332" y="838043"/>
                        <a:pt x="289830" y="860930"/>
                        <a:pt x="292671" y="899552"/>
                      </a:cubicBezTo>
                      <a:cubicBezTo>
                        <a:pt x="299775" y="1006119"/>
                        <a:pt x="309010" y="1111257"/>
                        <a:pt x="316824" y="1217110"/>
                      </a:cubicBezTo>
                      <a:cubicBezTo>
                        <a:pt x="320376" y="1267175"/>
                        <a:pt x="304037" y="1304366"/>
                        <a:pt x="247206" y="1306512"/>
                      </a:cubicBezTo>
                      <a:cubicBezTo>
                        <a:pt x="246496" y="1306512"/>
                        <a:pt x="245075" y="1306512"/>
                        <a:pt x="244365" y="1306512"/>
                      </a:cubicBezTo>
                      <a:cubicBezTo>
                        <a:pt x="186823" y="1306512"/>
                        <a:pt x="164801" y="1270751"/>
                        <a:pt x="169064" y="1217110"/>
                      </a:cubicBezTo>
                      <a:cubicBezTo>
                        <a:pt x="178299" y="1103389"/>
                        <a:pt x="189665" y="990385"/>
                        <a:pt x="200321" y="875234"/>
                      </a:cubicBezTo>
                      <a:cubicBezTo>
                        <a:pt x="202452" y="853777"/>
                        <a:pt x="220212" y="836612"/>
                        <a:pt x="241523" y="836612"/>
                      </a:cubicBezTo>
                      <a:close/>
                      <a:moveTo>
                        <a:pt x="237596" y="31750"/>
                      </a:moveTo>
                      <a:cubicBezTo>
                        <a:pt x="231889" y="31750"/>
                        <a:pt x="226183" y="31750"/>
                        <a:pt x="220476" y="32465"/>
                      </a:cubicBezTo>
                      <a:cubicBezTo>
                        <a:pt x="200504" y="33894"/>
                        <a:pt x="181245" y="38897"/>
                        <a:pt x="163412" y="46044"/>
                      </a:cubicBezTo>
                      <a:cubicBezTo>
                        <a:pt x="156992" y="48902"/>
                        <a:pt x="151286" y="51046"/>
                        <a:pt x="144866" y="54620"/>
                      </a:cubicBezTo>
                      <a:cubicBezTo>
                        <a:pt x="130600" y="61767"/>
                        <a:pt x="117048" y="71057"/>
                        <a:pt x="104208" y="82492"/>
                      </a:cubicBezTo>
                      <a:cubicBezTo>
                        <a:pt x="99215" y="86780"/>
                        <a:pt x="94222" y="91783"/>
                        <a:pt x="89942" y="96786"/>
                      </a:cubicBezTo>
                      <a:cubicBezTo>
                        <a:pt x="87089" y="98930"/>
                        <a:pt x="84949" y="101789"/>
                        <a:pt x="82809" y="103933"/>
                      </a:cubicBezTo>
                      <a:cubicBezTo>
                        <a:pt x="59270" y="131091"/>
                        <a:pt x="42864" y="163251"/>
                        <a:pt x="35731" y="196126"/>
                      </a:cubicBezTo>
                      <a:cubicBezTo>
                        <a:pt x="34304" y="201844"/>
                        <a:pt x="33591" y="206847"/>
                        <a:pt x="32878" y="212564"/>
                      </a:cubicBezTo>
                      <a:cubicBezTo>
                        <a:pt x="32165" y="216137"/>
                        <a:pt x="32165" y="220425"/>
                        <a:pt x="31451" y="223999"/>
                      </a:cubicBezTo>
                      <a:cubicBezTo>
                        <a:pt x="31451" y="227572"/>
                        <a:pt x="31451" y="231146"/>
                        <a:pt x="31451" y="234719"/>
                      </a:cubicBezTo>
                      <a:cubicBezTo>
                        <a:pt x="31451" y="236863"/>
                        <a:pt x="31451" y="239007"/>
                        <a:pt x="31451" y="240436"/>
                      </a:cubicBezTo>
                      <a:cubicBezTo>
                        <a:pt x="32165" y="257589"/>
                        <a:pt x="32165" y="274741"/>
                        <a:pt x="32878" y="291893"/>
                      </a:cubicBezTo>
                      <a:cubicBezTo>
                        <a:pt x="33591" y="309046"/>
                        <a:pt x="33591" y="326198"/>
                        <a:pt x="33591" y="343350"/>
                      </a:cubicBezTo>
                      <a:cubicBezTo>
                        <a:pt x="35018" y="412674"/>
                        <a:pt x="35018" y="481283"/>
                        <a:pt x="34304" y="549893"/>
                      </a:cubicBezTo>
                      <a:cubicBezTo>
                        <a:pt x="33591" y="566330"/>
                        <a:pt x="33591" y="583482"/>
                        <a:pt x="33591" y="600635"/>
                      </a:cubicBezTo>
                      <a:cubicBezTo>
                        <a:pt x="32878" y="617787"/>
                        <a:pt x="32878" y="634225"/>
                        <a:pt x="32878" y="651377"/>
                      </a:cubicBezTo>
                      <a:cubicBezTo>
                        <a:pt x="32165" y="670673"/>
                        <a:pt x="32165" y="689970"/>
                        <a:pt x="32165" y="709266"/>
                      </a:cubicBezTo>
                      <a:cubicBezTo>
                        <a:pt x="31451" y="738568"/>
                        <a:pt x="37871" y="755720"/>
                        <a:pt x="48571" y="765011"/>
                      </a:cubicBezTo>
                      <a:cubicBezTo>
                        <a:pt x="49997" y="766440"/>
                        <a:pt x="51424" y="767155"/>
                        <a:pt x="52850" y="768584"/>
                      </a:cubicBezTo>
                      <a:cubicBezTo>
                        <a:pt x="53564" y="768584"/>
                        <a:pt x="54277" y="769299"/>
                        <a:pt x="54990" y="770014"/>
                      </a:cubicBezTo>
                      <a:cubicBezTo>
                        <a:pt x="56417" y="770728"/>
                        <a:pt x="57843" y="771443"/>
                        <a:pt x="59983" y="772158"/>
                      </a:cubicBezTo>
                      <a:cubicBezTo>
                        <a:pt x="61410" y="772872"/>
                        <a:pt x="63550" y="772872"/>
                        <a:pt x="64976" y="773587"/>
                      </a:cubicBezTo>
                      <a:cubicBezTo>
                        <a:pt x="67116" y="774302"/>
                        <a:pt x="68543" y="774302"/>
                        <a:pt x="70683" y="775016"/>
                      </a:cubicBezTo>
                      <a:cubicBezTo>
                        <a:pt x="71396" y="775016"/>
                        <a:pt x="72823" y="775016"/>
                        <a:pt x="73536" y="775731"/>
                      </a:cubicBezTo>
                      <a:cubicBezTo>
                        <a:pt x="75676" y="775731"/>
                        <a:pt x="77816" y="775731"/>
                        <a:pt x="79956" y="776446"/>
                      </a:cubicBezTo>
                      <a:cubicBezTo>
                        <a:pt x="82809" y="776446"/>
                        <a:pt x="86376" y="776446"/>
                        <a:pt x="89942" y="776446"/>
                      </a:cubicBezTo>
                      <a:cubicBezTo>
                        <a:pt x="105635" y="777160"/>
                        <a:pt x="122041" y="777160"/>
                        <a:pt x="139160" y="777160"/>
                      </a:cubicBezTo>
                      <a:cubicBezTo>
                        <a:pt x="156279" y="777875"/>
                        <a:pt x="173398" y="777875"/>
                        <a:pt x="191231" y="777875"/>
                      </a:cubicBezTo>
                      <a:cubicBezTo>
                        <a:pt x="203357" y="777875"/>
                        <a:pt x="215483" y="777875"/>
                        <a:pt x="227609" y="777875"/>
                      </a:cubicBezTo>
                      <a:cubicBezTo>
                        <a:pt x="276114" y="777875"/>
                        <a:pt x="329612" y="777875"/>
                        <a:pt x="395949" y="776446"/>
                      </a:cubicBezTo>
                      <a:cubicBezTo>
                        <a:pt x="445880" y="776446"/>
                        <a:pt x="453013" y="747859"/>
                        <a:pt x="453013" y="723560"/>
                      </a:cubicBezTo>
                      <a:cubicBezTo>
                        <a:pt x="453726" y="696402"/>
                        <a:pt x="453726" y="668529"/>
                        <a:pt x="453726" y="641371"/>
                      </a:cubicBezTo>
                      <a:cubicBezTo>
                        <a:pt x="453726" y="559183"/>
                        <a:pt x="453726" y="476995"/>
                        <a:pt x="453726" y="396951"/>
                      </a:cubicBezTo>
                      <a:cubicBezTo>
                        <a:pt x="453726" y="369079"/>
                        <a:pt x="453726" y="341921"/>
                        <a:pt x="453726" y="314048"/>
                      </a:cubicBezTo>
                      <a:cubicBezTo>
                        <a:pt x="450160" y="313334"/>
                        <a:pt x="447307" y="312619"/>
                        <a:pt x="443740" y="311190"/>
                      </a:cubicBezTo>
                      <a:cubicBezTo>
                        <a:pt x="440173" y="310475"/>
                        <a:pt x="437320" y="309760"/>
                        <a:pt x="433754" y="309046"/>
                      </a:cubicBezTo>
                      <a:cubicBezTo>
                        <a:pt x="427334" y="306902"/>
                        <a:pt x="421628" y="304758"/>
                        <a:pt x="415921" y="302614"/>
                      </a:cubicBezTo>
                      <a:cubicBezTo>
                        <a:pt x="403795" y="299040"/>
                        <a:pt x="393096" y="294037"/>
                        <a:pt x="383109" y="289035"/>
                      </a:cubicBezTo>
                      <a:cubicBezTo>
                        <a:pt x="379543" y="287605"/>
                        <a:pt x="375976" y="285461"/>
                        <a:pt x="373123" y="284032"/>
                      </a:cubicBezTo>
                      <a:cubicBezTo>
                        <a:pt x="366703" y="279744"/>
                        <a:pt x="360997" y="276170"/>
                        <a:pt x="355291" y="271882"/>
                      </a:cubicBezTo>
                      <a:cubicBezTo>
                        <a:pt x="349584" y="268309"/>
                        <a:pt x="344591" y="264021"/>
                        <a:pt x="339598" y="259733"/>
                      </a:cubicBezTo>
                      <a:cubicBezTo>
                        <a:pt x="337458" y="256874"/>
                        <a:pt x="335318" y="254730"/>
                        <a:pt x="332465" y="252586"/>
                      </a:cubicBezTo>
                      <a:cubicBezTo>
                        <a:pt x="328185" y="247583"/>
                        <a:pt x="324619" y="242580"/>
                        <a:pt x="320339" y="237578"/>
                      </a:cubicBezTo>
                      <a:cubicBezTo>
                        <a:pt x="318912" y="235434"/>
                        <a:pt x="316772" y="232575"/>
                        <a:pt x="315346" y="229716"/>
                      </a:cubicBezTo>
                      <a:cubicBezTo>
                        <a:pt x="313919" y="226858"/>
                        <a:pt x="312492" y="224713"/>
                        <a:pt x="311066" y="221855"/>
                      </a:cubicBezTo>
                      <a:cubicBezTo>
                        <a:pt x="309639" y="218996"/>
                        <a:pt x="308213" y="216137"/>
                        <a:pt x="306786" y="212564"/>
                      </a:cubicBezTo>
                      <a:cubicBezTo>
                        <a:pt x="305359" y="209705"/>
                        <a:pt x="303933" y="206847"/>
                        <a:pt x="303219" y="203988"/>
                      </a:cubicBezTo>
                      <a:cubicBezTo>
                        <a:pt x="299653" y="194697"/>
                        <a:pt x="297513" y="185406"/>
                        <a:pt x="296086" y="175401"/>
                      </a:cubicBezTo>
                      <a:cubicBezTo>
                        <a:pt x="293947" y="161822"/>
                        <a:pt x="293947" y="148243"/>
                        <a:pt x="295373" y="133235"/>
                      </a:cubicBezTo>
                      <a:cubicBezTo>
                        <a:pt x="295373" y="129661"/>
                        <a:pt x="295373" y="126088"/>
                        <a:pt x="296086" y="123229"/>
                      </a:cubicBezTo>
                      <a:cubicBezTo>
                        <a:pt x="296800" y="116082"/>
                        <a:pt x="298226" y="109650"/>
                        <a:pt x="299653" y="102503"/>
                      </a:cubicBezTo>
                      <a:cubicBezTo>
                        <a:pt x="301080" y="95357"/>
                        <a:pt x="303219" y="88210"/>
                        <a:pt x="304646" y="81063"/>
                      </a:cubicBezTo>
                      <a:cubicBezTo>
                        <a:pt x="306073" y="78204"/>
                        <a:pt x="306786" y="75346"/>
                        <a:pt x="307499" y="72487"/>
                      </a:cubicBezTo>
                      <a:cubicBezTo>
                        <a:pt x="308926" y="66769"/>
                        <a:pt x="311066" y="61052"/>
                        <a:pt x="313206" y="55335"/>
                      </a:cubicBezTo>
                      <a:cubicBezTo>
                        <a:pt x="313919" y="52476"/>
                        <a:pt x="315346" y="49617"/>
                        <a:pt x="316772" y="46758"/>
                      </a:cubicBezTo>
                      <a:cubicBezTo>
                        <a:pt x="311779" y="44614"/>
                        <a:pt x="306786" y="43185"/>
                        <a:pt x="301793" y="41756"/>
                      </a:cubicBezTo>
                      <a:cubicBezTo>
                        <a:pt x="296800" y="39612"/>
                        <a:pt x="291807" y="38897"/>
                        <a:pt x="286813" y="37468"/>
                      </a:cubicBezTo>
                      <a:cubicBezTo>
                        <a:pt x="270408" y="33894"/>
                        <a:pt x="254002" y="31750"/>
                        <a:pt x="237596" y="31750"/>
                      </a:cubicBezTo>
                      <a:close/>
                      <a:moveTo>
                        <a:pt x="238219" y="0"/>
                      </a:moveTo>
                      <a:cubicBezTo>
                        <a:pt x="271113" y="0"/>
                        <a:pt x="306866" y="7152"/>
                        <a:pt x="344050" y="22887"/>
                      </a:cubicBezTo>
                      <a:cubicBezTo>
                        <a:pt x="351915" y="26463"/>
                        <a:pt x="355491" y="35761"/>
                        <a:pt x="352630" y="43628"/>
                      </a:cubicBezTo>
                      <a:cubicBezTo>
                        <a:pt x="294710" y="180950"/>
                        <a:pt x="333324" y="256763"/>
                        <a:pt x="473477" y="286087"/>
                      </a:cubicBezTo>
                      <a:cubicBezTo>
                        <a:pt x="481343" y="287517"/>
                        <a:pt x="486348" y="293954"/>
                        <a:pt x="486348" y="301106"/>
                      </a:cubicBezTo>
                      <a:cubicBezTo>
                        <a:pt x="486348" y="442004"/>
                        <a:pt x="487063" y="582902"/>
                        <a:pt x="485633" y="723799"/>
                      </a:cubicBezTo>
                      <a:cubicBezTo>
                        <a:pt x="484918" y="779586"/>
                        <a:pt x="452025" y="807480"/>
                        <a:pt x="396965" y="808195"/>
                      </a:cubicBezTo>
                      <a:cubicBezTo>
                        <a:pt x="341189" y="808910"/>
                        <a:pt x="284699" y="809625"/>
                        <a:pt x="228208" y="809625"/>
                      </a:cubicBezTo>
                      <a:cubicBezTo>
                        <a:pt x="181729" y="809625"/>
                        <a:pt x="135250" y="809625"/>
                        <a:pt x="89485" y="808195"/>
                      </a:cubicBezTo>
                      <a:cubicBezTo>
                        <a:pt x="25844" y="807480"/>
                        <a:pt x="102" y="771719"/>
                        <a:pt x="817" y="709495"/>
                      </a:cubicBezTo>
                      <a:cubicBezTo>
                        <a:pt x="2247" y="553578"/>
                        <a:pt x="5822" y="396945"/>
                        <a:pt x="102" y="241743"/>
                      </a:cubicBezTo>
                      <a:cubicBezTo>
                        <a:pt x="-3474" y="129454"/>
                        <a:pt x="88055" y="12159"/>
                        <a:pt x="218197" y="715"/>
                      </a:cubicBezTo>
                      <a:cubicBezTo>
                        <a:pt x="224633" y="0"/>
                        <a:pt x="231069" y="0"/>
                        <a:pt x="238219" y="0"/>
                      </a:cubicBezTo>
                      <a:close/>
                    </a:path>
                  </a:pathLst>
                </a:custGeom>
                <a:solidFill>
                  <a:schemeClr val="accent1"/>
                </a:solidFill>
                <a:ln>
                  <a:noFill/>
                </a:ln>
              </p:spPr>
              <p:txBody>
                <a:bodyPr vert="horz" wrap="square" lIns="32918" tIns="16459" rIns="32918" bIns="16459" numCol="1" anchor="t" anchorCtr="0" compatLnSpc="1">
                  <a:prstTxWarp prst="textNoShape">
                    <a:avLst/>
                  </a:prstTxWarp>
                  <a:noAutofit/>
                </a:bodyPr>
                <a:lstStyle/>
                <a:p>
                  <a:endParaRPr lang="en-US" dirty="0"/>
                </a:p>
              </p:txBody>
            </p:sp>
            <p:sp>
              <p:nvSpPr>
                <p:cNvPr id="43" name="Freeform 9"/>
                <p:cNvSpPr>
                  <a:spLocks/>
                </p:cNvSpPr>
                <p:nvPr/>
              </p:nvSpPr>
              <p:spPr bwMode="auto">
                <a:xfrm>
                  <a:off x="5916613" y="2874963"/>
                  <a:ext cx="361950" cy="682625"/>
                </a:xfrm>
                <a:custGeom>
                  <a:avLst/>
                  <a:gdLst>
                    <a:gd name="T0" fmla="*/ 506 w 507"/>
                    <a:gd name="T1" fmla="*/ 466 h 956"/>
                    <a:gd name="T2" fmla="*/ 506 w 507"/>
                    <a:gd name="T3" fmla="*/ 385 h 956"/>
                    <a:gd name="T4" fmla="*/ 311 w 507"/>
                    <a:gd name="T5" fmla="*/ 242 h 956"/>
                    <a:gd name="T6" fmla="*/ 301 w 507"/>
                    <a:gd name="T7" fmla="*/ 6 h 956"/>
                    <a:gd name="T8" fmla="*/ 247 w 507"/>
                    <a:gd name="T9" fmla="*/ 0 h 956"/>
                    <a:gd name="T10" fmla="*/ 226 w 507"/>
                    <a:gd name="T11" fmla="*/ 1 h 956"/>
                    <a:gd name="T12" fmla="*/ 63 w 507"/>
                    <a:gd name="T13" fmla="*/ 86 h 956"/>
                    <a:gd name="T14" fmla="*/ 2 w 507"/>
                    <a:gd name="T15" fmla="*/ 247 h 956"/>
                    <a:gd name="T16" fmla="*/ 4 w 507"/>
                    <a:gd name="T17" fmla="*/ 823 h 956"/>
                    <a:gd name="T18" fmla="*/ 4 w 507"/>
                    <a:gd name="T19" fmla="*/ 824 h 956"/>
                    <a:gd name="T20" fmla="*/ 3 w 507"/>
                    <a:gd name="T21" fmla="*/ 905 h 956"/>
                    <a:gd name="T22" fmla="*/ 10 w 507"/>
                    <a:gd name="T23" fmla="*/ 949 h 956"/>
                    <a:gd name="T24" fmla="*/ 41 w 507"/>
                    <a:gd name="T25" fmla="*/ 954 h 956"/>
                    <a:gd name="T26" fmla="*/ 233 w 507"/>
                    <a:gd name="T27" fmla="*/ 956 h 956"/>
                    <a:gd name="T28" fmla="*/ 468 w 507"/>
                    <a:gd name="T29" fmla="*/ 954 h 956"/>
                    <a:gd name="T30" fmla="*/ 501 w 507"/>
                    <a:gd name="T31" fmla="*/ 946 h 956"/>
                    <a:gd name="T32" fmla="*/ 505 w 507"/>
                    <a:gd name="T33" fmla="*/ 923 h 956"/>
                    <a:gd name="T34" fmla="*/ 506 w 507"/>
                    <a:gd name="T35" fmla="*/ 467 h 956"/>
                    <a:gd name="T36" fmla="*/ 506 w 507"/>
                    <a:gd name="T37" fmla="*/ 466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7" h="956">
                      <a:moveTo>
                        <a:pt x="506" y="466"/>
                      </a:moveTo>
                      <a:cubicBezTo>
                        <a:pt x="506" y="439"/>
                        <a:pt x="506" y="412"/>
                        <a:pt x="506" y="385"/>
                      </a:cubicBezTo>
                      <a:cubicBezTo>
                        <a:pt x="410" y="356"/>
                        <a:pt x="346" y="309"/>
                        <a:pt x="311" y="242"/>
                      </a:cubicBezTo>
                      <a:cubicBezTo>
                        <a:pt x="276" y="177"/>
                        <a:pt x="273" y="99"/>
                        <a:pt x="301" y="6"/>
                      </a:cubicBezTo>
                      <a:cubicBezTo>
                        <a:pt x="283" y="2"/>
                        <a:pt x="265" y="0"/>
                        <a:pt x="247" y="0"/>
                      </a:cubicBezTo>
                      <a:cubicBezTo>
                        <a:pt x="240" y="0"/>
                        <a:pt x="233" y="0"/>
                        <a:pt x="226" y="1"/>
                      </a:cubicBezTo>
                      <a:cubicBezTo>
                        <a:pt x="164" y="6"/>
                        <a:pt x="106" y="36"/>
                        <a:pt x="63" y="86"/>
                      </a:cubicBezTo>
                      <a:cubicBezTo>
                        <a:pt x="22" y="133"/>
                        <a:pt x="0" y="192"/>
                        <a:pt x="2" y="247"/>
                      </a:cubicBezTo>
                      <a:cubicBezTo>
                        <a:pt x="9" y="439"/>
                        <a:pt x="6" y="635"/>
                        <a:pt x="4" y="823"/>
                      </a:cubicBezTo>
                      <a:cubicBezTo>
                        <a:pt x="4" y="824"/>
                        <a:pt x="4" y="824"/>
                        <a:pt x="4" y="824"/>
                      </a:cubicBezTo>
                      <a:cubicBezTo>
                        <a:pt x="3" y="851"/>
                        <a:pt x="3" y="878"/>
                        <a:pt x="3" y="905"/>
                      </a:cubicBezTo>
                      <a:cubicBezTo>
                        <a:pt x="2" y="939"/>
                        <a:pt x="9" y="947"/>
                        <a:pt x="10" y="949"/>
                      </a:cubicBezTo>
                      <a:cubicBezTo>
                        <a:pt x="12" y="950"/>
                        <a:pt x="18" y="954"/>
                        <a:pt x="41" y="954"/>
                      </a:cubicBezTo>
                      <a:cubicBezTo>
                        <a:pt x="101" y="956"/>
                        <a:pt x="164" y="956"/>
                        <a:pt x="233" y="956"/>
                      </a:cubicBezTo>
                      <a:cubicBezTo>
                        <a:pt x="301" y="956"/>
                        <a:pt x="376" y="956"/>
                        <a:pt x="468" y="954"/>
                      </a:cubicBezTo>
                      <a:cubicBezTo>
                        <a:pt x="488" y="954"/>
                        <a:pt x="498" y="950"/>
                        <a:pt x="501" y="946"/>
                      </a:cubicBezTo>
                      <a:cubicBezTo>
                        <a:pt x="503" y="944"/>
                        <a:pt x="505" y="938"/>
                        <a:pt x="505" y="923"/>
                      </a:cubicBezTo>
                      <a:cubicBezTo>
                        <a:pt x="507" y="771"/>
                        <a:pt x="506" y="617"/>
                        <a:pt x="506" y="467"/>
                      </a:cubicBezTo>
                      <a:lnTo>
                        <a:pt x="506" y="466"/>
                      </a:lnTo>
                      <a:close/>
                    </a:path>
                  </a:pathLst>
                </a:custGeom>
                <a:solidFill>
                  <a:schemeClr val="tx2"/>
                </a:solidFill>
                <a:ln>
                  <a:noFill/>
                </a:ln>
              </p:spPr>
              <p:txBody>
                <a:bodyPr vert="horz" wrap="square" lIns="32918" tIns="16459" rIns="32918" bIns="16459" numCol="1" anchor="t" anchorCtr="0" compatLnSpc="1">
                  <a:prstTxWarp prst="textNoShape">
                    <a:avLst/>
                  </a:prstTxWarp>
                </a:bodyPr>
                <a:lstStyle/>
                <a:p>
                  <a:endParaRPr lang="en-US" dirty="0"/>
                </a:p>
              </p:txBody>
            </p:sp>
          </p:grpSp>
        </p:grpSp>
        <p:cxnSp>
          <p:nvCxnSpPr>
            <p:cNvPr id="26" name="Straight Arrow Connector 25"/>
            <p:cNvCxnSpPr/>
            <p:nvPr/>
          </p:nvCxnSpPr>
          <p:spPr>
            <a:xfrm>
              <a:off x="3996706" y="4282904"/>
              <a:ext cx="20973" cy="633341"/>
            </a:xfrm>
            <a:prstGeom prst="straightConnector1">
              <a:avLst/>
            </a:prstGeom>
            <a:ln w="13716"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4937682" y="3660258"/>
              <a:ext cx="2175678" cy="0"/>
            </a:xfrm>
            <a:prstGeom prst="straightConnector1">
              <a:avLst/>
            </a:prstGeom>
            <a:ln w="13716"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5549491" y="3229638"/>
              <a:ext cx="914400" cy="3377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918" tIns="16459" rIns="32918" bIns="16459" numCol="1" spcCol="0" rtlCol="0" fromWordArt="0" anchor="ctr" anchorCtr="0" forceAA="0" compatLnSpc="1">
              <a:prstTxWarp prst="textNoShape">
                <a:avLst/>
              </a:prstTxWarp>
              <a:noAutofit/>
            </a:bodyPr>
            <a:lstStyle/>
            <a:p>
              <a:pPr algn="ctr"/>
              <a:r>
                <a:rPr lang="en-US" sz="1000" dirty="0" smtClean="0">
                  <a:solidFill>
                    <a:srgbClr val="575757"/>
                  </a:solidFill>
                </a:rPr>
                <a:t>Similar clients</a:t>
              </a:r>
            </a:p>
          </p:txBody>
        </p:sp>
        <p:sp>
          <p:nvSpPr>
            <p:cNvPr id="34" name="TextBox 33"/>
            <p:cNvSpPr txBox="1"/>
            <p:nvPr/>
          </p:nvSpPr>
          <p:spPr>
            <a:xfrm>
              <a:off x="7668786" y="2265193"/>
              <a:ext cx="914399" cy="337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918" tIns="16459" rIns="32918" bIns="16459" numCol="1" spcCol="0" rtlCol="0" fromWordArt="0" anchor="ctr" anchorCtr="0" forceAA="0" compatLnSpc="1">
              <a:prstTxWarp prst="textNoShape">
                <a:avLst/>
              </a:prstTxWarp>
              <a:noAutofit/>
            </a:bodyPr>
            <a:lstStyle/>
            <a:p>
              <a:pPr algn="ctr"/>
              <a:r>
                <a:rPr lang="en-US" sz="1000" dirty="0" smtClean="0">
                  <a:solidFill>
                    <a:srgbClr val="295E7E"/>
                  </a:solidFill>
                </a:rPr>
                <a:t>Buy</a:t>
              </a:r>
            </a:p>
          </p:txBody>
        </p:sp>
        <p:sp>
          <p:nvSpPr>
            <p:cNvPr id="35" name="TextBox 34"/>
            <p:cNvSpPr txBox="1"/>
            <p:nvPr/>
          </p:nvSpPr>
          <p:spPr>
            <a:xfrm>
              <a:off x="8960979" y="3477412"/>
              <a:ext cx="914399" cy="337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918" tIns="16459" rIns="32918" bIns="16459" numCol="1" spcCol="0" rtlCol="0" fromWordArt="0" anchor="ctr" anchorCtr="0" forceAA="0" compatLnSpc="1">
              <a:prstTxWarp prst="textNoShape">
                <a:avLst/>
              </a:prstTxWarp>
              <a:noAutofit/>
            </a:bodyPr>
            <a:lstStyle/>
            <a:p>
              <a:pPr algn="ctr"/>
              <a:r>
                <a:rPr lang="en-US" sz="1000" dirty="0" smtClean="0">
                  <a:solidFill>
                    <a:srgbClr val="295E7E"/>
                  </a:solidFill>
                </a:rPr>
                <a:t>Buy</a:t>
              </a:r>
            </a:p>
          </p:txBody>
        </p:sp>
        <p:sp>
          <p:nvSpPr>
            <p:cNvPr id="36" name="TextBox 35"/>
            <p:cNvSpPr txBox="1"/>
            <p:nvPr/>
          </p:nvSpPr>
          <p:spPr>
            <a:xfrm>
              <a:off x="3114263" y="2366535"/>
              <a:ext cx="914399" cy="337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918" tIns="16459" rIns="32918" bIns="16459" numCol="1" spcCol="0" rtlCol="0" fromWordArt="0" anchor="ctr" anchorCtr="0" forceAA="0" compatLnSpc="1">
              <a:prstTxWarp prst="textNoShape">
                <a:avLst/>
              </a:prstTxWarp>
              <a:noAutofit/>
            </a:bodyPr>
            <a:lstStyle/>
            <a:p>
              <a:pPr algn="ctr"/>
              <a:r>
                <a:rPr lang="en-US" sz="1000" dirty="0" smtClean="0">
                  <a:solidFill>
                    <a:srgbClr val="295E7E"/>
                  </a:solidFill>
                </a:rPr>
                <a:t>Buy</a:t>
              </a:r>
            </a:p>
          </p:txBody>
        </p:sp>
        <p:sp>
          <p:nvSpPr>
            <p:cNvPr id="37" name="TextBox 36"/>
            <p:cNvSpPr txBox="1"/>
            <p:nvPr/>
          </p:nvSpPr>
          <p:spPr>
            <a:xfrm>
              <a:off x="2283949" y="3467071"/>
              <a:ext cx="914399" cy="337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918" tIns="16459" rIns="32918" bIns="16459" numCol="1" spcCol="0" rtlCol="0" fromWordArt="0" anchor="ctr" anchorCtr="0" forceAA="0" compatLnSpc="1">
              <a:prstTxWarp prst="textNoShape">
                <a:avLst/>
              </a:prstTxWarp>
              <a:noAutofit/>
            </a:bodyPr>
            <a:lstStyle/>
            <a:p>
              <a:pPr algn="ctr"/>
              <a:r>
                <a:rPr lang="en-US" sz="1000" dirty="0" smtClean="0">
                  <a:solidFill>
                    <a:srgbClr val="295E7E"/>
                  </a:solidFill>
                </a:rPr>
                <a:t>Buy</a:t>
              </a:r>
            </a:p>
          </p:txBody>
        </p:sp>
        <p:sp>
          <p:nvSpPr>
            <p:cNvPr id="38" name="TextBox 37"/>
            <p:cNvSpPr txBox="1"/>
            <p:nvPr/>
          </p:nvSpPr>
          <p:spPr>
            <a:xfrm>
              <a:off x="3040796" y="4340832"/>
              <a:ext cx="914399" cy="337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918" tIns="16459" rIns="32918" bIns="16459" numCol="1" spcCol="0" rtlCol="0" fromWordArt="0" anchor="ctr" anchorCtr="0" forceAA="0" compatLnSpc="1">
              <a:prstTxWarp prst="textNoShape">
                <a:avLst/>
              </a:prstTxWarp>
              <a:noAutofit/>
            </a:bodyPr>
            <a:lstStyle/>
            <a:p>
              <a:pPr algn="ctr"/>
              <a:r>
                <a:rPr lang="en-US" sz="1000" dirty="0" smtClean="0">
                  <a:solidFill>
                    <a:srgbClr val="295E7E"/>
                  </a:solidFill>
                </a:rPr>
                <a:t>Buy</a:t>
              </a:r>
            </a:p>
          </p:txBody>
        </p:sp>
        <p:sp>
          <p:nvSpPr>
            <p:cNvPr id="39" name="TextBox 38"/>
            <p:cNvSpPr txBox="1"/>
            <p:nvPr/>
          </p:nvSpPr>
          <p:spPr>
            <a:xfrm>
              <a:off x="6376504" y="5213321"/>
              <a:ext cx="914399" cy="3377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918" tIns="16459" rIns="32918" bIns="16459" numCol="1" spcCol="0" rtlCol="0" fromWordArt="0" anchor="ctr" anchorCtr="0" forceAA="0" compatLnSpc="1">
              <a:prstTxWarp prst="textNoShape">
                <a:avLst/>
              </a:prstTxWarp>
              <a:noAutofit/>
            </a:bodyPr>
            <a:lstStyle/>
            <a:p>
              <a:pPr algn="ctr"/>
              <a:r>
                <a:rPr lang="en-US" sz="1000" dirty="0" smtClean="0">
                  <a:solidFill>
                    <a:srgbClr val="E71C57"/>
                  </a:solidFill>
                </a:rPr>
                <a:t>Recommend</a:t>
              </a:r>
            </a:p>
          </p:txBody>
        </p:sp>
      </p:grpSp>
      <p:pic>
        <p:nvPicPr>
          <p:cNvPr id="65" name="Picture 64"/>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83972" y="4526943"/>
            <a:ext cx="3109830" cy="1281627"/>
          </a:xfrm>
          <a:prstGeom prst="rect">
            <a:avLst/>
          </a:prstGeom>
        </p:spPr>
      </p:pic>
      <p:grpSp>
        <p:nvGrpSpPr>
          <p:cNvPr id="101" name="Group 100"/>
          <p:cNvGrpSpPr/>
          <p:nvPr/>
        </p:nvGrpSpPr>
        <p:grpSpPr>
          <a:xfrm>
            <a:off x="2645615" y="4633751"/>
            <a:ext cx="1088186" cy="1068012"/>
            <a:chOff x="2645615" y="5049278"/>
            <a:chExt cx="1088186" cy="1068012"/>
          </a:xfrm>
        </p:grpSpPr>
        <p:sp>
          <p:nvSpPr>
            <p:cNvPr id="67" name="Rectangle 66"/>
            <p:cNvSpPr/>
            <p:nvPr/>
          </p:nvSpPr>
          <p:spPr>
            <a:xfrm>
              <a:off x="3427045" y="5049278"/>
              <a:ext cx="306756" cy="207784"/>
            </a:xfrm>
            <a:prstGeom prst="rect">
              <a:avLst/>
            </a:prstGeom>
            <a:solidFill>
              <a:srgbClr val="FFFFFF"/>
            </a:solidFill>
            <a:ln w="8572"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8" name="Rectangle 67"/>
            <p:cNvSpPr/>
            <p:nvPr/>
          </p:nvSpPr>
          <p:spPr>
            <a:xfrm>
              <a:off x="3427045" y="5493378"/>
              <a:ext cx="306756" cy="207784"/>
            </a:xfrm>
            <a:prstGeom prst="rect">
              <a:avLst/>
            </a:prstGeom>
            <a:solidFill>
              <a:srgbClr val="FFFFFF"/>
            </a:solidFill>
            <a:ln w="8572"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9" name="Rectangle 68"/>
            <p:cNvSpPr/>
            <p:nvPr/>
          </p:nvSpPr>
          <p:spPr>
            <a:xfrm>
              <a:off x="3427045" y="5909506"/>
              <a:ext cx="306756" cy="207784"/>
            </a:xfrm>
            <a:prstGeom prst="rect">
              <a:avLst/>
            </a:prstGeom>
            <a:solidFill>
              <a:srgbClr val="FFFFFF"/>
            </a:solidFill>
            <a:ln w="8572"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cxnSp>
          <p:nvCxnSpPr>
            <p:cNvPr id="70" name="Elbow Connector 69"/>
            <p:cNvCxnSpPr>
              <a:stCxn id="74" idx="6"/>
              <a:endCxn id="67" idx="1"/>
            </p:cNvCxnSpPr>
            <p:nvPr/>
          </p:nvCxnSpPr>
          <p:spPr>
            <a:xfrm flipV="1">
              <a:off x="3047299" y="5153170"/>
              <a:ext cx="379746" cy="444202"/>
            </a:xfrm>
            <a:prstGeom prst="bentConnector3">
              <a:avLst>
                <a:gd name="adj1" fmla="val 50000"/>
              </a:avLst>
            </a:prstGeom>
            <a:ln w="8572" cap="rnd">
              <a:solidFill>
                <a:schemeClr val="tx1">
                  <a:lumMod val="60000"/>
                  <a:lumOff val="40000"/>
                </a:schemeClr>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74" idx="6"/>
              <a:endCxn id="69" idx="1"/>
            </p:cNvCxnSpPr>
            <p:nvPr/>
          </p:nvCxnSpPr>
          <p:spPr>
            <a:xfrm>
              <a:off x="3047299" y="5597372"/>
              <a:ext cx="379746" cy="416026"/>
            </a:xfrm>
            <a:prstGeom prst="bentConnector3">
              <a:avLst>
                <a:gd name="adj1" fmla="val 50000"/>
              </a:avLst>
            </a:prstGeom>
            <a:ln w="8572" cap="rnd">
              <a:solidFill>
                <a:schemeClr val="tx1">
                  <a:lumMod val="60000"/>
                  <a:lumOff val="40000"/>
                </a:schemeClr>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74" idx="6"/>
              <a:endCxn id="68" idx="1"/>
            </p:cNvCxnSpPr>
            <p:nvPr/>
          </p:nvCxnSpPr>
          <p:spPr>
            <a:xfrm flipV="1">
              <a:off x="3047299" y="5597270"/>
              <a:ext cx="379746" cy="102"/>
            </a:xfrm>
            <a:prstGeom prst="line">
              <a:avLst/>
            </a:prstGeom>
            <a:ln w="8572" cap="rnd">
              <a:solidFill>
                <a:schemeClr val="tx1">
                  <a:lumMod val="60000"/>
                  <a:lumOff val="40000"/>
                </a:schemeClr>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2645615" y="5396530"/>
              <a:ext cx="401684" cy="401684"/>
              <a:chOff x="310396" y="4843393"/>
              <a:chExt cx="603473" cy="603473"/>
            </a:xfrm>
          </p:grpSpPr>
          <p:sp>
            <p:nvSpPr>
              <p:cNvPr id="74" name="Oval 73"/>
              <p:cNvSpPr/>
              <p:nvPr/>
            </p:nvSpPr>
            <p:spPr>
              <a:xfrm>
                <a:off x="310396" y="4843393"/>
                <a:ext cx="603473" cy="603473"/>
              </a:xfrm>
              <a:prstGeom prst="ellipse">
                <a:avLst/>
              </a:prstGeom>
              <a:solidFill>
                <a:srgbClr val="FFFFFF"/>
              </a:solidFill>
              <a:ln w="8572"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75" name="Group 74"/>
              <p:cNvGrpSpPr>
                <a:grpSpLocks noChangeAspect="1"/>
              </p:cNvGrpSpPr>
              <p:nvPr/>
            </p:nvGrpSpPr>
            <p:grpSpPr>
              <a:xfrm>
                <a:off x="379224" y="4897968"/>
                <a:ext cx="449316" cy="449732"/>
                <a:chOff x="5273801" y="2606040"/>
                <a:chExt cx="1644396" cy="1645920"/>
              </a:xfrm>
            </p:grpSpPr>
            <p:sp>
              <p:nvSpPr>
                <p:cNvPr id="76" name="AutoShape 13">
                  <a:extLst>
                    <a:ext uri="{FF2B5EF4-FFF2-40B4-BE49-F238E27FC236}">
                      <a16:creationId xmlns:a16="http://schemas.microsoft.com/office/drawing/2014/main" xmlns="" id="{2EA7B8A2-9428-4CA9-8BF1-97C056515EC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nvGrpSpPr>
                <p:cNvPr id="77" name="Group 76"/>
                <p:cNvGrpSpPr/>
                <p:nvPr/>
              </p:nvGrpSpPr>
              <p:grpSpPr>
                <a:xfrm>
                  <a:off x="5457062" y="2860167"/>
                  <a:ext cx="1356360" cy="1301877"/>
                  <a:chOff x="5457062" y="2860167"/>
                  <a:chExt cx="1356360" cy="1301877"/>
                </a:xfrm>
              </p:grpSpPr>
              <p:sp>
                <p:nvSpPr>
                  <p:cNvPr id="78" name="Freeform 77">
                    <a:extLst>
                      <a:ext uri="{FF2B5EF4-FFF2-40B4-BE49-F238E27FC236}">
                        <a16:creationId xmlns:a16="http://schemas.microsoft.com/office/drawing/2014/main" xmlns="" id="{E4E9C908-2225-4935-BE9B-CED0E639FE78}"/>
                      </a:ext>
                    </a:extLst>
                  </p:cNvPr>
                  <p:cNvSpPr>
                    <a:spLocks noEditPoints="1"/>
                  </p:cNvSpPr>
                  <p:nvPr/>
                </p:nvSpPr>
                <p:spPr bwMode="auto">
                  <a:xfrm>
                    <a:off x="5528690" y="2931795"/>
                    <a:ext cx="1043559" cy="841629"/>
                  </a:xfrm>
                  <a:custGeom>
                    <a:avLst/>
                    <a:gdLst>
                      <a:gd name="T0" fmla="*/ 312 w 1462"/>
                      <a:gd name="T1" fmla="*/ 609 h 1178"/>
                      <a:gd name="T2" fmla="*/ 312 w 1462"/>
                      <a:gd name="T3" fmla="*/ 1020 h 1178"/>
                      <a:gd name="T4" fmla="*/ 303 w 1462"/>
                      <a:gd name="T5" fmla="*/ 1030 h 1178"/>
                      <a:gd name="T6" fmla="*/ 9 w 1462"/>
                      <a:gd name="T7" fmla="*/ 1030 h 1178"/>
                      <a:gd name="T8" fmla="*/ 0 w 1462"/>
                      <a:gd name="T9" fmla="*/ 1020 h 1178"/>
                      <a:gd name="T10" fmla="*/ 0 w 1462"/>
                      <a:gd name="T11" fmla="*/ 609 h 1178"/>
                      <a:gd name="T12" fmla="*/ 9 w 1462"/>
                      <a:gd name="T13" fmla="*/ 600 h 1178"/>
                      <a:gd name="T14" fmla="*/ 303 w 1462"/>
                      <a:gd name="T15" fmla="*/ 600 h 1178"/>
                      <a:gd name="T16" fmla="*/ 312 w 1462"/>
                      <a:gd name="T17" fmla="*/ 609 h 1178"/>
                      <a:gd name="T18" fmla="*/ 1453 w 1462"/>
                      <a:gd name="T19" fmla="*/ 0 h 1178"/>
                      <a:gd name="T20" fmla="*/ 1160 w 1462"/>
                      <a:gd name="T21" fmla="*/ 0 h 1178"/>
                      <a:gd name="T22" fmla="*/ 1150 w 1462"/>
                      <a:gd name="T23" fmla="*/ 10 h 1178"/>
                      <a:gd name="T24" fmla="*/ 1150 w 1462"/>
                      <a:gd name="T25" fmla="*/ 420 h 1178"/>
                      <a:gd name="T26" fmla="*/ 1286 w 1462"/>
                      <a:gd name="T27" fmla="*/ 519 h 1178"/>
                      <a:gd name="T28" fmla="*/ 1382 w 1462"/>
                      <a:gd name="T29" fmla="*/ 1030 h 1178"/>
                      <a:gd name="T30" fmla="*/ 1453 w 1462"/>
                      <a:gd name="T31" fmla="*/ 1030 h 1178"/>
                      <a:gd name="T32" fmla="*/ 1462 w 1462"/>
                      <a:gd name="T33" fmla="*/ 1020 h 1178"/>
                      <a:gd name="T34" fmla="*/ 1462 w 1462"/>
                      <a:gd name="T35" fmla="*/ 10 h 1178"/>
                      <a:gd name="T36" fmla="*/ 1453 w 1462"/>
                      <a:gd name="T37" fmla="*/ 0 h 1178"/>
                      <a:gd name="T38" fmla="*/ 735 w 1462"/>
                      <a:gd name="T39" fmla="*/ 593 h 1178"/>
                      <a:gd name="T40" fmla="*/ 715 w 1462"/>
                      <a:gd name="T41" fmla="*/ 611 h 1178"/>
                      <a:gd name="T42" fmla="*/ 706 w 1462"/>
                      <a:gd name="T43" fmla="*/ 1077 h 1178"/>
                      <a:gd name="T44" fmla="*/ 735 w 1462"/>
                      <a:gd name="T45" fmla="*/ 1104 h 1178"/>
                      <a:gd name="T46" fmla="*/ 735 w 1462"/>
                      <a:gd name="T47" fmla="*/ 593 h 1178"/>
                      <a:gd name="T48" fmla="*/ 944 w 1462"/>
                      <a:gd name="T49" fmla="*/ 519 h 1178"/>
                      <a:gd name="T50" fmla="*/ 838 w 1462"/>
                      <a:gd name="T51" fmla="*/ 536 h 1178"/>
                      <a:gd name="T52" fmla="*/ 838 w 1462"/>
                      <a:gd name="T53" fmla="*/ 1161 h 1178"/>
                      <a:gd name="T54" fmla="*/ 944 w 1462"/>
                      <a:gd name="T55" fmla="*/ 1178 h 1178"/>
                      <a:gd name="T56" fmla="*/ 1144 w 1462"/>
                      <a:gd name="T57" fmla="*/ 1110 h 1178"/>
                      <a:gd name="T58" fmla="*/ 1146 w 1462"/>
                      <a:gd name="T59" fmla="*/ 1109 h 1178"/>
                      <a:gd name="T60" fmla="*/ 1172 w 1462"/>
                      <a:gd name="T61" fmla="*/ 1086 h 1178"/>
                      <a:gd name="T62" fmla="*/ 1200 w 1462"/>
                      <a:gd name="T63" fmla="*/ 1056 h 1178"/>
                      <a:gd name="T64" fmla="*/ 1181 w 1462"/>
                      <a:gd name="T65" fmla="*/ 620 h 1178"/>
                      <a:gd name="T66" fmla="*/ 944 w 1462"/>
                      <a:gd name="T67" fmla="*/ 519 h 1178"/>
                      <a:gd name="T68" fmla="*/ 944 w 1462"/>
                      <a:gd name="T69" fmla="*/ 374 h 1178"/>
                      <a:gd name="T70" fmla="*/ 1079 w 1462"/>
                      <a:gd name="T71" fmla="*/ 393 h 1178"/>
                      <a:gd name="T72" fmla="*/ 1079 w 1462"/>
                      <a:gd name="T73" fmla="*/ 253 h 1178"/>
                      <a:gd name="T74" fmla="*/ 1069 w 1462"/>
                      <a:gd name="T75" fmla="*/ 243 h 1178"/>
                      <a:gd name="T76" fmla="*/ 776 w 1462"/>
                      <a:gd name="T77" fmla="*/ 243 h 1178"/>
                      <a:gd name="T78" fmla="*/ 766 w 1462"/>
                      <a:gd name="T79" fmla="*/ 253 h 1178"/>
                      <a:gd name="T80" fmla="*/ 766 w 1462"/>
                      <a:gd name="T81" fmla="*/ 408 h 1178"/>
                      <a:gd name="T82" fmla="*/ 944 w 1462"/>
                      <a:gd name="T83" fmla="*/ 374 h 1178"/>
                      <a:gd name="T84" fmla="*/ 614 w 1462"/>
                      <a:gd name="T85" fmla="*/ 506 h 1178"/>
                      <a:gd name="T86" fmla="*/ 696 w 1462"/>
                      <a:gd name="T87" fmla="*/ 443 h 1178"/>
                      <a:gd name="T88" fmla="*/ 696 w 1462"/>
                      <a:gd name="T89" fmla="*/ 89 h 1178"/>
                      <a:gd name="T90" fmla="*/ 686 w 1462"/>
                      <a:gd name="T91" fmla="*/ 73 h 1178"/>
                      <a:gd name="T92" fmla="*/ 393 w 1462"/>
                      <a:gd name="T93" fmla="*/ 73 h 1178"/>
                      <a:gd name="T94" fmla="*/ 383 w 1462"/>
                      <a:gd name="T95" fmla="*/ 89 h 1178"/>
                      <a:gd name="T96" fmla="*/ 383 w 1462"/>
                      <a:gd name="T97" fmla="*/ 1015 h 1178"/>
                      <a:gd name="T98" fmla="*/ 393 w 1462"/>
                      <a:gd name="T99" fmla="*/ 1030 h 1178"/>
                      <a:gd name="T100" fmla="*/ 505 w 1462"/>
                      <a:gd name="T101" fmla="*/ 1030 h 1178"/>
                      <a:gd name="T102" fmla="*/ 614 w 1462"/>
                      <a:gd name="T103" fmla="*/ 506 h 1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2" h="1178">
                        <a:moveTo>
                          <a:pt x="312" y="609"/>
                        </a:moveTo>
                        <a:cubicBezTo>
                          <a:pt x="312" y="1020"/>
                          <a:pt x="312" y="1020"/>
                          <a:pt x="312" y="1020"/>
                        </a:cubicBezTo>
                        <a:cubicBezTo>
                          <a:pt x="312" y="1026"/>
                          <a:pt x="308" y="1030"/>
                          <a:pt x="303" y="1030"/>
                        </a:cubicBezTo>
                        <a:cubicBezTo>
                          <a:pt x="9" y="1030"/>
                          <a:pt x="9" y="1030"/>
                          <a:pt x="9" y="1030"/>
                        </a:cubicBezTo>
                        <a:cubicBezTo>
                          <a:pt x="4" y="1030"/>
                          <a:pt x="0" y="1026"/>
                          <a:pt x="0" y="1020"/>
                        </a:cubicBezTo>
                        <a:cubicBezTo>
                          <a:pt x="0" y="609"/>
                          <a:pt x="0" y="609"/>
                          <a:pt x="0" y="609"/>
                        </a:cubicBezTo>
                        <a:cubicBezTo>
                          <a:pt x="0" y="604"/>
                          <a:pt x="4" y="600"/>
                          <a:pt x="9" y="600"/>
                        </a:cubicBezTo>
                        <a:cubicBezTo>
                          <a:pt x="303" y="600"/>
                          <a:pt x="303" y="600"/>
                          <a:pt x="303" y="600"/>
                        </a:cubicBezTo>
                        <a:cubicBezTo>
                          <a:pt x="308" y="600"/>
                          <a:pt x="312" y="604"/>
                          <a:pt x="312" y="609"/>
                        </a:cubicBezTo>
                        <a:close/>
                        <a:moveTo>
                          <a:pt x="1453" y="0"/>
                        </a:moveTo>
                        <a:cubicBezTo>
                          <a:pt x="1160" y="0"/>
                          <a:pt x="1160" y="0"/>
                          <a:pt x="1160" y="0"/>
                        </a:cubicBezTo>
                        <a:cubicBezTo>
                          <a:pt x="1154" y="0"/>
                          <a:pt x="1150" y="4"/>
                          <a:pt x="1150" y="10"/>
                        </a:cubicBezTo>
                        <a:cubicBezTo>
                          <a:pt x="1150" y="420"/>
                          <a:pt x="1150" y="420"/>
                          <a:pt x="1150" y="420"/>
                        </a:cubicBezTo>
                        <a:cubicBezTo>
                          <a:pt x="1200" y="444"/>
                          <a:pt x="1246" y="478"/>
                          <a:pt x="1286" y="519"/>
                        </a:cubicBezTo>
                        <a:cubicBezTo>
                          <a:pt x="1419" y="658"/>
                          <a:pt x="1453" y="859"/>
                          <a:pt x="1382" y="1030"/>
                        </a:cubicBezTo>
                        <a:cubicBezTo>
                          <a:pt x="1453" y="1030"/>
                          <a:pt x="1453" y="1030"/>
                          <a:pt x="1453" y="1030"/>
                        </a:cubicBezTo>
                        <a:cubicBezTo>
                          <a:pt x="1458" y="1030"/>
                          <a:pt x="1462" y="1026"/>
                          <a:pt x="1462" y="1020"/>
                        </a:cubicBezTo>
                        <a:cubicBezTo>
                          <a:pt x="1462" y="10"/>
                          <a:pt x="1462" y="10"/>
                          <a:pt x="1462" y="10"/>
                        </a:cubicBezTo>
                        <a:cubicBezTo>
                          <a:pt x="1462" y="4"/>
                          <a:pt x="1458" y="0"/>
                          <a:pt x="1453" y="0"/>
                        </a:cubicBezTo>
                        <a:close/>
                        <a:moveTo>
                          <a:pt x="735" y="593"/>
                        </a:moveTo>
                        <a:cubicBezTo>
                          <a:pt x="728" y="599"/>
                          <a:pt x="721" y="605"/>
                          <a:pt x="715" y="611"/>
                        </a:cubicBezTo>
                        <a:cubicBezTo>
                          <a:pt x="584" y="737"/>
                          <a:pt x="580" y="946"/>
                          <a:pt x="706" y="1077"/>
                        </a:cubicBezTo>
                        <a:cubicBezTo>
                          <a:pt x="715" y="1087"/>
                          <a:pt x="725" y="1095"/>
                          <a:pt x="735" y="1104"/>
                        </a:cubicBezTo>
                        <a:lnTo>
                          <a:pt x="735" y="593"/>
                        </a:lnTo>
                        <a:close/>
                        <a:moveTo>
                          <a:pt x="944" y="519"/>
                        </a:moveTo>
                        <a:cubicBezTo>
                          <a:pt x="907" y="519"/>
                          <a:pt x="872" y="525"/>
                          <a:pt x="838" y="536"/>
                        </a:cubicBezTo>
                        <a:cubicBezTo>
                          <a:pt x="838" y="1161"/>
                          <a:pt x="838" y="1161"/>
                          <a:pt x="838" y="1161"/>
                        </a:cubicBezTo>
                        <a:cubicBezTo>
                          <a:pt x="872" y="1172"/>
                          <a:pt x="907" y="1178"/>
                          <a:pt x="944" y="1178"/>
                        </a:cubicBezTo>
                        <a:cubicBezTo>
                          <a:pt x="1016" y="1178"/>
                          <a:pt x="1087" y="1154"/>
                          <a:pt x="1144" y="1110"/>
                        </a:cubicBezTo>
                        <a:cubicBezTo>
                          <a:pt x="1146" y="1109"/>
                          <a:pt x="1146" y="1109"/>
                          <a:pt x="1146" y="1109"/>
                        </a:cubicBezTo>
                        <a:cubicBezTo>
                          <a:pt x="1153" y="1103"/>
                          <a:pt x="1162" y="1096"/>
                          <a:pt x="1172" y="1086"/>
                        </a:cubicBezTo>
                        <a:cubicBezTo>
                          <a:pt x="1182" y="1077"/>
                          <a:pt x="1191" y="1067"/>
                          <a:pt x="1200" y="1056"/>
                        </a:cubicBezTo>
                        <a:cubicBezTo>
                          <a:pt x="1304" y="927"/>
                          <a:pt x="1296" y="740"/>
                          <a:pt x="1181" y="620"/>
                        </a:cubicBezTo>
                        <a:cubicBezTo>
                          <a:pt x="1119" y="555"/>
                          <a:pt x="1034" y="519"/>
                          <a:pt x="944" y="519"/>
                        </a:cubicBezTo>
                        <a:close/>
                        <a:moveTo>
                          <a:pt x="944" y="374"/>
                        </a:moveTo>
                        <a:cubicBezTo>
                          <a:pt x="990" y="374"/>
                          <a:pt x="1036" y="380"/>
                          <a:pt x="1079" y="393"/>
                        </a:cubicBezTo>
                        <a:cubicBezTo>
                          <a:pt x="1079" y="253"/>
                          <a:pt x="1079" y="253"/>
                          <a:pt x="1079" y="253"/>
                        </a:cubicBezTo>
                        <a:cubicBezTo>
                          <a:pt x="1079" y="247"/>
                          <a:pt x="1075" y="243"/>
                          <a:pt x="1069" y="243"/>
                        </a:cubicBezTo>
                        <a:cubicBezTo>
                          <a:pt x="776" y="243"/>
                          <a:pt x="776" y="243"/>
                          <a:pt x="776" y="243"/>
                        </a:cubicBezTo>
                        <a:cubicBezTo>
                          <a:pt x="771" y="243"/>
                          <a:pt x="766" y="247"/>
                          <a:pt x="766" y="253"/>
                        </a:cubicBezTo>
                        <a:cubicBezTo>
                          <a:pt x="766" y="408"/>
                          <a:pt x="766" y="408"/>
                          <a:pt x="766" y="408"/>
                        </a:cubicBezTo>
                        <a:cubicBezTo>
                          <a:pt x="822" y="385"/>
                          <a:pt x="882" y="374"/>
                          <a:pt x="944" y="374"/>
                        </a:cubicBezTo>
                        <a:close/>
                        <a:moveTo>
                          <a:pt x="614" y="506"/>
                        </a:moveTo>
                        <a:cubicBezTo>
                          <a:pt x="639" y="482"/>
                          <a:pt x="667" y="461"/>
                          <a:pt x="696" y="443"/>
                        </a:cubicBezTo>
                        <a:cubicBezTo>
                          <a:pt x="696" y="89"/>
                          <a:pt x="696" y="89"/>
                          <a:pt x="696" y="89"/>
                        </a:cubicBezTo>
                        <a:cubicBezTo>
                          <a:pt x="696" y="80"/>
                          <a:pt x="691" y="73"/>
                          <a:pt x="686" y="73"/>
                        </a:cubicBezTo>
                        <a:cubicBezTo>
                          <a:pt x="393" y="73"/>
                          <a:pt x="393" y="73"/>
                          <a:pt x="393" y="73"/>
                        </a:cubicBezTo>
                        <a:cubicBezTo>
                          <a:pt x="387" y="73"/>
                          <a:pt x="383" y="80"/>
                          <a:pt x="383" y="89"/>
                        </a:cubicBezTo>
                        <a:cubicBezTo>
                          <a:pt x="383" y="1015"/>
                          <a:pt x="383" y="1015"/>
                          <a:pt x="383" y="1015"/>
                        </a:cubicBezTo>
                        <a:cubicBezTo>
                          <a:pt x="383" y="1023"/>
                          <a:pt x="387" y="1030"/>
                          <a:pt x="393" y="1030"/>
                        </a:cubicBezTo>
                        <a:cubicBezTo>
                          <a:pt x="505" y="1030"/>
                          <a:pt x="505" y="1030"/>
                          <a:pt x="505" y="1030"/>
                        </a:cubicBezTo>
                        <a:cubicBezTo>
                          <a:pt x="433" y="855"/>
                          <a:pt x="470" y="645"/>
                          <a:pt x="614" y="50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79" name="Freeform 78">
                    <a:extLst>
                      <a:ext uri="{FF2B5EF4-FFF2-40B4-BE49-F238E27FC236}">
                        <a16:creationId xmlns:a16="http://schemas.microsoft.com/office/drawing/2014/main" xmlns="" id="{07385039-B208-433D-97C3-719751E80DB1}"/>
                      </a:ext>
                    </a:extLst>
                  </p:cNvPr>
                  <p:cNvSpPr>
                    <a:spLocks noEditPoints="1"/>
                  </p:cNvSpPr>
                  <p:nvPr/>
                </p:nvSpPr>
                <p:spPr bwMode="auto">
                  <a:xfrm>
                    <a:off x="5457062" y="2860167"/>
                    <a:ext cx="1356360" cy="1301877"/>
                  </a:xfrm>
                  <a:custGeom>
                    <a:avLst/>
                    <a:gdLst>
                      <a:gd name="T0" fmla="*/ 734 w 1900"/>
                      <a:gd name="T1" fmla="*/ 1246 h 1822"/>
                      <a:gd name="T2" fmla="*/ 1284 w 1900"/>
                      <a:gd name="T3" fmla="*/ 1303 h 1822"/>
                      <a:gd name="T4" fmla="*/ 1385 w 1900"/>
                      <a:gd name="T5" fmla="*/ 1407 h 1822"/>
                      <a:gd name="T6" fmla="*/ 1401 w 1900"/>
                      <a:gd name="T7" fmla="*/ 1407 h 1822"/>
                      <a:gd name="T8" fmla="*/ 1493 w 1900"/>
                      <a:gd name="T9" fmla="*/ 1320 h 1822"/>
                      <a:gd name="T10" fmla="*/ 1493 w 1900"/>
                      <a:gd name="T11" fmla="*/ 1303 h 1822"/>
                      <a:gd name="T12" fmla="*/ 1392 w 1900"/>
                      <a:gd name="T13" fmla="*/ 1198 h 1822"/>
                      <a:gd name="T14" fmla="*/ 1353 w 1900"/>
                      <a:gd name="T15" fmla="*/ 651 h 1822"/>
                      <a:gd name="T16" fmla="*/ 746 w 1900"/>
                      <a:gd name="T17" fmla="*/ 639 h 1822"/>
                      <a:gd name="T18" fmla="*/ 734 w 1900"/>
                      <a:gd name="T19" fmla="*/ 1246 h 1822"/>
                      <a:gd name="T20" fmla="*/ 1272 w 1900"/>
                      <a:gd name="T21" fmla="*/ 1246 h 1822"/>
                      <a:gd name="T22" fmla="*/ 773 w 1900"/>
                      <a:gd name="T23" fmla="*/ 1209 h 1822"/>
                      <a:gd name="T24" fmla="*/ 783 w 1900"/>
                      <a:gd name="T25" fmla="*/ 678 h 1822"/>
                      <a:gd name="T26" fmla="*/ 1314 w 1900"/>
                      <a:gd name="T27" fmla="*/ 688 h 1822"/>
                      <a:gd name="T28" fmla="*/ 1336 w 1900"/>
                      <a:gd name="T29" fmla="*/ 1185 h 1822"/>
                      <a:gd name="T30" fmla="*/ 1304 w 1900"/>
                      <a:gd name="T31" fmla="*/ 1219 h 1822"/>
                      <a:gd name="T32" fmla="*/ 1272 w 1900"/>
                      <a:gd name="T33" fmla="*/ 1246 h 1822"/>
                      <a:gd name="T34" fmla="*/ 1765 w 1900"/>
                      <a:gd name="T35" fmla="*/ 1822 h 1822"/>
                      <a:gd name="T36" fmla="*/ 1727 w 1900"/>
                      <a:gd name="T37" fmla="*/ 1807 h 1822"/>
                      <a:gd name="T38" fmla="*/ 1417 w 1900"/>
                      <a:gd name="T39" fmla="*/ 1484 h 1822"/>
                      <a:gd name="T40" fmla="*/ 1418 w 1900"/>
                      <a:gd name="T41" fmla="*/ 1453 h 1822"/>
                      <a:gd name="T42" fmla="*/ 1541 w 1900"/>
                      <a:gd name="T43" fmla="*/ 1334 h 1822"/>
                      <a:gd name="T44" fmla="*/ 1557 w 1900"/>
                      <a:gd name="T45" fmla="*/ 1327 h 1822"/>
                      <a:gd name="T46" fmla="*/ 1572 w 1900"/>
                      <a:gd name="T47" fmla="*/ 1334 h 1822"/>
                      <a:gd name="T48" fmla="*/ 1882 w 1900"/>
                      <a:gd name="T49" fmla="*/ 1659 h 1822"/>
                      <a:gd name="T50" fmla="*/ 1891 w 1900"/>
                      <a:gd name="T51" fmla="*/ 1721 h 1822"/>
                      <a:gd name="T52" fmla="*/ 1851 w 1900"/>
                      <a:gd name="T53" fmla="*/ 1781 h 1822"/>
                      <a:gd name="T54" fmla="*/ 1789 w 1900"/>
                      <a:gd name="T55" fmla="*/ 1819 h 1822"/>
                      <a:gd name="T56" fmla="*/ 1765 w 1900"/>
                      <a:gd name="T57" fmla="*/ 1822 h 1822"/>
                      <a:gd name="T58" fmla="*/ 1464 w 1900"/>
                      <a:gd name="T59" fmla="*/ 1469 h 1822"/>
                      <a:gd name="T60" fmla="*/ 1759 w 1900"/>
                      <a:gd name="T61" fmla="*/ 1777 h 1822"/>
                      <a:gd name="T62" fmla="*/ 1777 w 1900"/>
                      <a:gd name="T63" fmla="*/ 1777 h 1822"/>
                      <a:gd name="T64" fmla="*/ 1820 w 1900"/>
                      <a:gd name="T65" fmla="*/ 1749 h 1822"/>
                      <a:gd name="T66" fmla="*/ 1849 w 1900"/>
                      <a:gd name="T67" fmla="*/ 1707 h 1822"/>
                      <a:gd name="T68" fmla="*/ 1851 w 1900"/>
                      <a:gd name="T69" fmla="*/ 1689 h 1822"/>
                      <a:gd name="T70" fmla="*/ 1556 w 1900"/>
                      <a:gd name="T71" fmla="*/ 1381 h 1822"/>
                      <a:gd name="T72" fmla="*/ 1464 w 1900"/>
                      <a:gd name="T73" fmla="*/ 1469 h 1822"/>
                      <a:gd name="T74" fmla="*/ 1640 w 1900"/>
                      <a:gd name="T75" fmla="*/ 0 h 1822"/>
                      <a:gd name="T76" fmla="*/ 22 w 1900"/>
                      <a:gd name="T77" fmla="*/ 0 h 1822"/>
                      <a:gd name="T78" fmla="*/ 0 w 1900"/>
                      <a:gd name="T79" fmla="*/ 22 h 1822"/>
                      <a:gd name="T80" fmla="*/ 0 w 1900"/>
                      <a:gd name="T81" fmla="*/ 1208 h 1822"/>
                      <a:gd name="T82" fmla="*/ 22 w 1900"/>
                      <a:gd name="T83" fmla="*/ 1230 h 1822"/>
                      <a:gd name="T84" fmla="*/ 661 w 1900"/>
                      <a:gd name="T85" fmla="*/ 1230 h 1822"/>
                      <a:gd name="T86" fmla="*/ 633 w 1900"/>
                      <a:gd name="T87" fmla="*/ 1186 h 1822"/>
                      <a:gd name="T88" fmla="*/ 44 w 1900"/>
                      <a:gd name="T89" fmla="*/ 1186 h 1822"/>
                      <a:gd name="T90" fmla="*/ 44 w 1900"/>
                      <a:gd name="T91" fmla="*/ 44 h 1822"/>
                      <a:gd name="T92" fmla="*/ 1618 w 1900"/>
                      <a:gd name="T93" fmla="*/ 44 h 1822"/>
                      <a:gd name="T94" fmla="*/ 1618 w 1900"/>
                      <a:gd name="T95" fmla="*/ 1186 h 1822"/>
                      <a:gd name="T96" fmla="*/ 1454 w 1900"/>
                      <a:gd name="T97" fmla="*/ 1186 h 1822"/>
                      <a:gd name="T98" fmla="*/ 1451 w 1900"/>
                      <a:gd name="T99" fmla="*/ 1192 h 1822"/>
                      <a:gd name="T100" fmla="*/ 1487 w 1900"/>
                      <a:gd name="T101" fmla="*/ 1230 h 1822"/>
                      <a:gd name="T102" fmla="*/ 1640 w 1900"/>
                      <a:gd name="T103" fmla="*/ 1230 h 1822"/>
                      <a:gd name="T104" fmla="*/ 1662 w 1900"/>
                      <a:gd name="T105" fmla="*/ 1208 h 1822"/>
                      <a:gd name="T106" fmla="*/ 1662 w 1900"/>
                      <a:gd name="T107" fmla="*/ 22 h 1822"/>
                      <a:gd name="T108" fmla="*/ 1640 w 1900"/>
                      <a:gd name="T109" fmla="*/ 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0" h="1822">
                        <a:moveTo>
                          <a:pt x="734" y="1246"/>
                        </a:moveTo>
                        <a:cubicBezTo>
                          <a:pt x="881" y="1399"/>
                          <a:pt x="1115" y="1418"/>
                          <a:pt x="1284" y="1303"/>
                        </a:cubicBezTo>
                        <a:cubicBezTo>
                          <a:pt x="1284" y="1303"/>
                          <a:pt x="1284" y="1303"/>
                          <a:pt x="1385" y="1407"/>
                        </a:cubicBezTo>
                        <a:cubicBezTo>
                          <a:pt x="1389" y="1412"/>
                          <a:pt x="1397" y="1412"/>
                          <a:pt x="1401" y="1407"/>
                        </a:cubicBezTo>
                        <a:cubicBezTo>
                          <a:pt x="1401" y="1407"/>
                          <a:pt x="1401" y="1407"/>
                          <a:pt x="1493" y="1320"/>
                        </a:cubicBezTo>
                        <a:cubicBezTo>
                          <a:pt x="1498" y="1315"/>
                          <a:pt x="1498" y="1308"/>
                          <a:pt x="1493" y="1303"/>
                        </a:cubicBezTo>
                        <a:cubicBezTo>
                          <a:pt x="1493" y="1303"/>
                          <a:pt x="1493" y="1303"/>
                          <a:pt x="1392" y="1198"/>
                        </a:cubicBezTo>
                        <a:cubicBezTo>
                          <a:pt x="1510" y="1033"/>
                          <a:pt x="1498" y="802"/>
                          <a:pt x="1353" y="651"/>
                        </a:cubicBezTo>
                        <a:cubicBezTo>
                          <a:pt x="1188" y="480"/>
                          <a:pt x="917" y="475"/>
                          <a:pt x="746" y="639"/>
                        </a:cubicBezTo>
                        <a:cubicBezTo>
                          <a:pt x="576" y="803"/>
                          <a:pt x="571" y="1075"/>
                          <a:pt x="734" y="1246"/>
                        </a:cubicBezTo>
                        <a:close/>
                        <a:moveTo>
                          <a:pt x="1272" y="1246"/>
                        </a:moveTo>
                        <a:cubicBezTo>
                          <a:pt x="1123" y="1361"/>
                          <a:pt x="907" y="1348"/>
                          <a:pt x="773" y="1209"/>
                        </a:cubicBezTo>
                        <a:cubicBezTo>
                          <a:pt x="630" y="1060"/>
                          <a:pt x="634" y="821"/>
                          <a:pt x="783" y="678"/>
                        </a:cubicBezTo>
                        <a:cubicBezTo>
                          <a:pt x="932" y="534"/>
                          <a:pt x="1171" y="539"/>
                          <a:pt x="1314" y="688"/>
                        </a:cubicBezTo>
                        <a:cubicBezTo>
                          <a:pt x="1447" y="826"/>
                          <a:pt x="1453" y="1040"/>
                          <a:pt x="1336" y="1185"/>
                        </a:cubicBezTo>
                        <a:cubicBezTo>
                          <a:pt x="1326" y="1197"/>
                          <a:pt x="1315" y="1208"/>
                          <a:pt x="1304" y="1219"/>
                        </a:cubicBezTo>
                        <a:cubicBezTo>
                          <a:pt x="1294" y="1229"/>
                          <a:pt x="1284" y="1238"/>
                          <a:pt x="1272" y="1246"/>
                        </a:cubicBezTo>
                        <a:close/>
                        <a:moveTo>
                          <a:pt x="1765" y="1822"/>
                        </a:moveTo>
                        <a:cubicBezTo>
                          <a:pt x="1750" y="1822"/>
                          <a:pt x="1736" y="1817"/>
                          <a:pt x="1727" y="1807"/>
                        </a:cubicBezTo>
                        <a:cubicBezTo>
                          <a:pt x="1417" y="1484"/>
                          <a:pt x="1417" y="1484"/>
                          <a:pt x="1417" y="1484"/>
                        </a:cubicBezTo>
                        <a:cubicBezTo>
                          <a:pt x="1409" y="1475"/>
                          <a:pt x="1409" y="1461"/>
                          <a:pt x="1418" y="1453"/>
                        </a:cubicBezTo>
                        <a:cubicBezTo>
                          <a:pt x="1541" y="1334"/>
                          <a:pt x="1541" y="1334"/>
                          <a:pt x="1541" y="1334"/>
                        </a:cubicBezTo>
                        <a:cubicBezTo>
                          <a:pt x="1545" y="1330"/>
                          <a:pt x="1551" y="1327"/>
                          <a:pt x="1557" y="1327"/>
                        </a:cubicBezTo>
                        <a:cubicBezTo>
                          <a:pt x="1563" y="1328"/>
                          <a:pt x="1568" y="1330"/>
                          <a:pt x="1572" y="1334"/>
                        </a:cubicBezTo>
                        <a:cubicBezTo>
                          <a:pt x="1882" y="1659"/>
                          <a:pt x="1882" y="1659"/>
                          <a:pt x="1882" y="1659"/>
                        </a:cubicBezTo>
                        <a:cubicBezTo>
                          <a:pt x="1896" y="1673"/>
                          <a:pt x="1900" y="1696"/>
                          <a:pt x="1891" y="1721"/>
                        </a:cubicBezTo>
                        <a:cubicBezTo>
                          <a:pt x="1884" y="1742"/>
                          <a:pt x="1870" y="1763"/>
                          <a:pt x="1851" y="1781"/>
                        </a:cubicBezTo>
                        <a:cubicBezTo>
                          <a:pt x="1832" y="1799"/>
                          <a:pt x="1810" y="1813"/>
                          <a:pt x="1789" y="1819"/>
                        </a:cubicBezTo>
                        <a:cubicBezTo>
                          <a:pt x="1781" y="1821"/>
                          <a:pt x="1773" y="1822"/>
                          <a:pt x="1765" y="1822"/>
                        </a:cubicBezTo>
                        <a:close/>
                        <a:moveTo>
                          <a:pt x="1464" y="1469"/>
                        </a:moveTo>
                        <a:cubicBezTo>
                          <a:pt x="1759" y="1777"/>
                          <a:pt x="1759" y="1777"/>
                          <a:pt x="1759" y="1777"/>
                        </a:cubicBezTo>
                        <a:cubicBezTo>
                          <a:pt x="1760" y="1778"/>
                          <a:pt x="1766" y="1780"/>
                          <a:pt x="1777" y="1777"/>
                        </a:cubicBezTo>
                        <a:cubicBezTo>
                          <a:pt x="1791" y="1773"/>
                          <a:pt x="1806" y="1763"/>
                          <a:pt x="1820" y="1749"/>
                        </a:cubicBezTo>
                        <a:cubicBezTo>
                          <a:pt x="1834" y="1736"/>
                          <a:pt x="1845" y="1721"/>
                          <a:pt x="1849" y="1707"/>
                        </a:cubicBezTo>
                        <a:cubicBezTo>
                          <a:pt x="1853" y="1696"/>
                          <a:pt x="1852" y="1690"/>
                          <a:pt x="1851" y="1689"/>
                        </a:cubicBezTo>
                        <a:cubicBezTo>
                          <a:pt x="1556" y="1381"/>
                          <a:pt x="1556" y="1381"/>
                          <a:pt x="1556" y="1381"/>
                        </a:cubicBezTo>
                        <a:lnTo>
                          <a:pt x="1464" y="1469"/>
                        </a:lnTo>
                        <a:close/>
                        <a:moveTo>
                          <a:pt x="1640" y="0"/>
                        </a:moveTo>
                        <a:cubicBezTo>
                          <a:pt x="22" y="0"/>
                          <a:pt x="22" y="0"/>
                          <a:pt x="22" y="0"/>
                        </a:cubicBezTo>
                        <a:cubicBezTo>
                          <a:pt x="10" y="0"/>
                          <a:pt x="0" y="10"/>
                          <a:pt x="0" y="22"/>
                        </a:cubicBezTo>
                        <a:cubicBezTo>
                          <a:pt x="0" y="1208"/>
                          <a:pt x="0" y="1208"/>
                          <a:pt x="0" y="1208"/>
                        </a:cubicBezTo>
                        <a:cubicBezTo>
                          <a:pt x="0" y="1220"/>
                          <a:pt x="10" y="1230"/>
                          <a:pt x="22" y="1230"/>
                        </a:cubicBezTo>
                        <a:cubicBezTo>
                          <a:pt x="661" y="1230"/>
                          <a:pt x="661" y="1230"/>
                          <a:pt x="661" y="1230"/>
                        </a:cubicBezTo>
                        <a:cubicBezTo>
                          <a:pt x="651" y="1216"/>
                          <a:pt x="641" y="1201"/>
                          <a:pt x="633" y="1186"/>
                        </a:cubicBezTo>
                        <a:cubicBezTo>
                          <a:pt x="44" y="1186"/>
                          <a:pt x="44" y="1186"/>
                          <a:pt x="44" y="1186"/>
                        </a:cubicBezTo>
                        <a:cubicBezTo>
                          <a:pt x="44" y="44"/>
                          <a:pt x="44" y="44"/>
                          <a:pt x="44" y="44"/>
                        </a:cubicBezTo>
                        <a:cubicBezTo>
                          <a:pt x="1618" y="44"/>
                          <a:pt x="1618" y="44"/>
                          <a:pt x="1618" y="44"/>
                        </a:cubicBezTo>
                        <a:cubicBezTo>
                          <a:pt x="1618" y="1186"/>
                          <a:pt x="1618" y="1186"/>
                          <a:pt x="1618" y="1186"/>
                        </a:cubicBezTo>
                        <a:cubicBezTo>
                          <a:pt x="1454" y="1186"/>
                          <a:pt x="1454" y="1186"/>
                          <a:pt x="1454" y="1186"/>
                        </a:cubicBezTo>
                        <a:cubicBezTo>
                          <a:pt x="1453" y="1188"/>
                          <a:pt x="1452" y="1190"/>
                          <a:pt x="1451" y="1192"/>
                        </a:cubicBezTo>
                        <a:cubicBezTo>
                          <a:pt x="1487" y="1230"/>
                          <a:pt x="1487" y="1230"/>
                          <a:pt x="1487" y="1230"/>
                        </a:cubicBezTo>
                        <a:cubicBezTo>
                          <a:pt x="1640" y="1230"/>
                          <a:pt x="1640" y="1230"/>
                          <a:pt x="1640" y="1230"/>
                        </a:cubicBezTo>
                        <a:cubicBezTo>
                          <a:pt x="1652" y="1230"/>
                          <a:pt x="1662" y="1220"/>
                          <a:pt x="1662" y="1208"/>
                        </a:cubicBezTo>
                        <a:cubicBezTo>
                          <a:pt x="1662" y="22"/>
                          <a:pt x="1662" y="22"/>
                          <a:pt x="1662" y="22"/>
                        </a:cubicBezTo>
                        <a:cubicBezTo>
                          <a:pt x="1662" y="10"/>
                          <a:pt x="1652" y="0"/>
                          <a:pt x="16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grpSp>
        </p:grpSp>
        <p:grpSp>
          <p:nvGrpSpPr>
            <p:cNvPr id="80" name="Group 79"/>
            <p:cNvGrpSpPr>
              <a:grpSpLocks noChangeAspect="1"/>
            </p:cNvGrpSpPr>
            <p:nvPr/>
          </p:nvGrpSpPr>
          <p:grpSpPr>
            <a:xfrm>
              <a:off x="3476631" y="5049278"/>
              <a:ext cx="207583" cy="207784"/>
              <a:chOff x="5273675" y="2606675"/>
              <a:chExt cx="1644649" cy="1646238"/>
            </a:xfrm>
          </p:grpSpPr>
          <p:sp>
            <p:nvSpPr>
              <p:cNvPr id="81" name="AutoShape 3"/>
              <p:cNvSpPr>
                <a:spLocks noChangeAspect="1" noChangeArrowheads="1" noTextEdit="1"/>
              </p:cNvSpPr>
              <p:nvPr/>
            </p:nvSpPr>
            <p:spPr bwMode="auto">
              <a:xfrm>
                <a:off x="5273675" y="2606675"/>
                <a:ext cx="1644649"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2" name="Group 81"/>
              <p:cNvGrpSpPr/>
              <p:nvPr/>
            </p:nvGrpSpPr>
            <p:grpSpPr>
              <a:xfrm>
                <a:off x="5635622" y="2774948"/>
                <a:ext cx="920749" cy="1306512"/>
                <a:chOff x="5635625" y="2774950"/>
                <a:chExt cx="920751" cy="1306513"/>
              </a:xfrm>
            </p:grpSpPr>
            <p:sp>
              <p:nvSpPr>
                <p:cNvPr id="83" name="Freeform 82"/>
                <p:cNvSpPr>
                  <a:spLocks/>
                </p:cNvSpPr>
                <p:nvPr/>
              </p:nvSpPr>
              <p:spPr bwMode="auto">
                <a:xfrm>
                  <a:off x="5635625" y="2881312"/>
                  <a:ext cx="823913" cy="1123950"/>
                </a:xfrm>
                <a:custGeom>
                  <a:avLst/>
                  <a:gdLst>
                    <a:gd name="connsiteX0" fmla="*/ 409607 w 823913"/>
                    <a:gd name="connsiteY0" fmla="*/ 866775 h 1123950"/>
                    <a:gd name="connsiteX1" fmla="*/ 614363 w 823913"/>
                    <a:gd name="connsiteY1" fmla="*/ 866775 h 1123950"/>
                    <a:gd name="connsiteX2" fmla="*/ 587158 w 823913"/>
                    <a:gd name="connsiteY2" fmla="*/ 895350 h 1123950"/>
                    <a:gd name="connsiteX3" fmla="*/ 409607 w 823913"/>
                    <a:gd name="connsiteY3" fmla="*/ 895350 h 1123950"/>
                    <a:gd name="connsiteX4" fmla="*/ 395288 w 823913"/>
                    <a:gd name="connsiteY4" fmla="*/ 880696 h 1123950"/>
                    <a:gd name="connsiteX5" fmla="*/ 409607 w 823913"/>
                    <a:gd name="connsiteY5" fmla="*/ 866775 h 1123950"/>
                    <a:gd name="connsiteX6" fmla="*/ 179388 w 823913"/>
                    <a:gd name="connsiteY6" fmla="*/ 787400 h 1123950"/>
                    <a:gd name="connsiteX7" fmla="*/ 179388 w 823913"/>
                    <a:gd name="connsiteY7" fmla="*/ 873125 h 1123950"/>
                    <a:gd name="connsiteX8" fmla="*/ 265113 w 823913"/>
                    <a:gd name="connsiteY8" fmla="*/ 873125 h 1123950"/>
                    <a:gd name="connsiteX9" fmla="*/ 265113 w 823913"/>
                    <a:gd name="connsiteY9" fmla="*/ 787400 h 1123950"/>
                    <a:gd name="connsiteX10" fmla="*/ 179388 w 823913"/>
                    <a:gd name="connsiteY10" fmla="*/ 787400 h 1123950"/>
                    <a:gd name="connsiteX11" fmla="*/ 409556 w 823913"/>
                    <a:gd name="connsiteY11" fmla="*/ 774700 h 1123950"/>
                    <a:gd name="connsiteX12" fmla="*/ 669945 w 823913"/>
                    <a:gd name="connsiteY12" fmla="*/ 774700 h 1123950"/>
                    <a:gd name="connsiteX13" fmla="*/ 684213 w 823913"/>
                    <a:gd name="connsiteY13" fmla="*/ 789414 h 1123950"/>
                    <a:gd name="connsiteX14" fmla="*/ 669945 w 823913"/>
                    <a:gd name="connsiteY14" fmla="*/ 804863 h 1123950"/>
                    <a:gd name="connsiteX15" fmla="*/ 409556 w 823913"/>
                    <a:gd name="connsiteY15" fmla="*/ 804863 h 1123950"/>
                    <a:gd name="connsiteX16" fmla="*/ 395288 w 823913"/>
                    <a:gd name="connsiteY16" fmla="*/ 789414 h 1123950"/>
                    <a:gd name="connsiteX17" fmla="*/ 409556 w 823913"/>
                    <a:gd name="connsiteY17" fmla="*/ 774700 h 1123950"/>
                    <a:gd name="connsiteX18" fmla="*/ 163600 w 823913"/>
                    <a:gd name="connsiteY18" fmla="*/ 758825 h 1123950"/>
                    <a:gd name="connsiteX19" fmla="*/ 279314 w 823913"/>
                    <a:gd name="connsiteY19" fmla="*/ 758825 h 1123950"/>
                    <a:gd name="connsiteX20" fmla="*/ 293688 w 823913"/>
                    <a:gd name="connsiteY20" fmla="*/ 773113 h 1123950"/>
                    <a:gd name="connsiteX21" fmla="*/ 293688 w 823913"/>
                    <a:gd name="connsiteY21" fmla="*/ 887413 h 1123950"/>
                    <a:gd name="connsiteX22" fmla="*/ 279314 w 823913"/>
                    <a:gd name="connsiteY22" fmla="*/ 901700 h 1123950"/>
                    <a:gd name="connsiteX23" fmla="*/ 163600 w 823913"/>
                    <a:gd name="connsiteY23" fmla="*/ 901700 h 1123950"/>
                    <a:gd name="connsiteX24" fmla="*/ 149225 w 823913"/>
                    <a:gd name="connsiteY24" fmla="*/ 887413 h 1123950"/>
                    <a:gd name="connsiteX25" fmla="*/ 149225 w 823913"/>
                    <a:gd name="connsiteY25" fmla="*/ 773113 h 1123950"/>
                    <a:gd name="connsiteX26" fmla="*/ 163600 w 823913"/>
                    <a:gd name="connsiteY26" fmla="*/ 758825 h 1123950"/>
                    <a:gd name="connsiteX27" fmla="*/ 409556 w 823913"/>
                    <a:gd name="connsiteY27" fmla="*/ 608012 h 1123950"/>
                    <a:gd name="connsiteX28" fmla="*/ 669945 w 823913"/>
                    <a:gd name="connsiteY28" fmla="*/ 608012 h 1123950"/>
                    <a:gd name="connsiteX29" fmla="*/ 684213 w 823913"/>
                    <a:gd name="connsiteY29" fmla="*/ 623094 h 1123950"/>
                    <a:gd name="connsiteX30" fmla="*/ 669945 w 823913"/>
                    <a:gd name="connsiteY30" fmla="*/ 638175 h 1123950"/>
                    <a:gd name="connsiteX31" fmla="*/ 409556 w 823913"/>
                    <a:gd name="connsiteY31" fmla="*/ 638175 h 1123950"/>
                    <a:gd name="connsiteX32" fmla="*/ 395288 w 823913"/>
                    <a:gd name="connsiteY32" fmla="*/ 623094 h 1123950"/>
                    <a:gd name="connsiteX33" fmla="*/ 409556 w 823913"/>
                    <a:gd name="connsiteY33" fmla="*/ 608012 h 1123950"/>
                    <a:gd name="connsiteX34" fmla="*/ 179388 w 823913"/>
                    <a:gd name="connsiteY34" fmla="*/ 536575 h 1123950"/>
                    <a:gd name="connsiteX35" fmla="*/ 179388 w 823913"/>
                    <a:gd name="connsiteY35" fmla="*/ 622300 h 1123950"/>
                    <a:gd name="connsiteX36" fmla="*/ 265113 w 823913"/>
                    <a:gd name="connsiteY36" fmla="*/ 622300 h 1123950"/>
                    <a:gd name="connsiteX37" fmla="*/ 265113 w 823913"/>
                    <a:gd name="connsiteY37" fmla="*/ 536575 h 1123950"/>
                    <a:gd name="connsiteX38" fmla="*/ 179388 w 823913"/>
                    <a:gd name="connsiteY38" fmla="*/ 536575 h 1123950"/>
                    <a:gd name="connsiteX39" fmla="*/ 409556 w 823913"/>
                    <a:gd name="connsiteY39" fmla="*/ 517525 h 1123950"/>
                    <a:gd name="connsiteX40" fmla="*/ 669945 w 823913"/>
                    <a:gd name="connsiteY40" fmla="*/ 517525 h 1123950"/>
                    <a:gd name="connsiteX41" fmla="*/ 684213 w 823913"/>
                    <a:gd name="connsiteY41" fmla="*/ 531813 h 1123950"/>
                    <a:gd name="connsiteX42" fmla="*/ 669945 w 823913"/>
                    <a:gd name="connsiteY42" fmla="*/ 546100 h 1123950"/>
                    <a:gd name="connsiteX43" fmla="*/ 409556 w 823913"/>
                    <a:gd name="connsiteY43" fmla="*/ 546100 h 1123950"/>
                    <a:gd name="connsiteX44" fmla="*/ 395288 w 823913"/>
                    <a:gd name="connsiteY44" fmla="*/ 531813 h 1123950"/>
                    <a:gd name="connsiteX45" fmla="*/ 409556 w 823913"/>
                    <a:gd name="connsiteY45" fmla="*/ 517525 h 1123950"/>
                    <a:gd name="connsiteX46" fmla="*/ 163600 w 823913"/>
                    <a:gd name="connsiteY46" fmla="*/ 508000 h 1123950"/>
                    <a:gd name="connsiteX47" fmla="*/ 279314 w 823913"/>
                    <a:gd name="connsiteY47" fmla="*/ 508000 h 1123950"/>
                    <a:gd name="connsiteX48" fmla="*/ 293688 w 823913"/>
                    <a:gd name="connsiteY48" fmla="*/ 522927 h 1123950"/>
                    <a:gd name="connsiteX49" fmla="*/ 293688 w 823913"/>
                    <a:gd name="connsiteY49" fmla="*/ 636659 h 1123950"/>
                    <a:gd name="connsiteX50" fmla="*/ 279314 w 823913"/>
                    <a:gd name="connsiteY50" fmla="*/ 650875 h 1123950"/>
                    <a:gd name="connsiteX51" fmla="*/ 163600 w 823913"/>
                    <a:gd name="connsiteY51" fmla="*/ 650875 h 1123950"/>
                    <a:gd name="connsiteX52" fmla="*/ 149225 w 823913"/>
                    <a:gd name="connsiteY52" fmla="*/ 636659 h 1123950"/>
                    <a:gd name="connsiteX53" fmla="*/ 149225 w 823913"/>
                    <a:gd name="connsiteY53" fmla="*/ 522927 h 1123950"/>
                    <a:gd name="connsiteX54" fmla="*/ 163600 w 823913"/>
                    <a:gd name="connsiteY54" fmla="*/ 508000 h 1123950"/>
                    <a:gd name="connsiteX55" fmla="*/ 409556 w 823913"/>
                    <a:gd name="connsiteY55" fmla="*/ 352425 h 1123950"/>
                    <a:gd name="connsiteX56" fmla="*/ 669945 w 823913"/>
                    <a:gd name="connsiteY56" fmla="*/ 352425 h 1123950"/>
                    <a:gd name="connsiteX57" fmla="*/ 684213 w 823913"/>
                    <a:gd name="connsiteY57" fmla="*/ 366713 h 1123950"/>
                    <a:gd name="connsiteX58" fmla="*/ 669945 w 823913"/>
                    <a:gd name="connsiteY58" fmla="*/ 381000 h 1123950"/>
                    <a:gd name="connsiteX59" fmla="*/ 409556 w 823913"/>
                    <a:gd name="connsiteY59" fmla="*/ 381000 h 1123950"/>
                    <a:gd name="connsiteX60" fmla="*/ 395288 w 823913"/>
                    <a:gd name="connsiteY60" fmla="*/ 366713 h 1123950"/>
                    <a:gd name="connsiteX61" fmla="*/ 409556 w 823913"/>
                    <a:gd name="connsiteY61" fmla="*/ 352425 h 1123950"/>
                    <a:gd name="connsiteX62" fmla="*/ 179388 w 823913"/>
                    <a:gd name="connsiteY62" fmla="*/ 279400 h 1123950"/>
                    <a:gd name="connsiteX63" fmla="*/ 179388 w 823913"/>
                    <a:gd name="connsiteY63" fmla="*/ 365125 h 1123950"/>
                    <a:gd name="connsiteX64" fmla="*/ 265113 w 823913"/>
                    <a:gd name="connsiteY64" fmla="*/ 365125 h 1123950"/>
                    <a:gd name="connsiteX65" fmla="*/ 265113 w 823913"/>
                    <a:gd name="connsiteY65" fmla="*/ 279400 h 1123950"/>
                    <a:gd name="connsiteX66" fmla="*/ 179388 w 823913"/>
                    <a:gd name="connsiteY66" fmla="*/ 279400 h 1123950"/>
                    <a:gd name="connsiteX67" fmla="*/ 409556 w 823913"/>
                    <a:gd name="connsiteY67" fmla="*/ 260350 h 1123950"/>
                    <a:gd name="connsiteX68" fmla="*/ 669945 w 823913"/>
                    <a:gd name="connsiteY68" fmla="*/ 260350 h 1123950"/>
                    <a:gd name="connsiteX69" fmla="*/ 684213 w 823913"/>
                    <a:gd name="connsiteY69" fmla="*/ 274638 h 1123950"/>
                    <a:gd name="connsiteX70" fmla="*/ 669945 w 823913"/>
                    <a:gd name="connsiteY70" fmla="*/ 288925 h 1123950"/>
                    <a:gd name="connsiteX71" fmla="*/ 409556 w 823913"/>
                    <a:gd name="connsiteY71" fmla="*/ 288925 h 1123950"/>
                    <a:gd name="connsiteX72" fmla="*/ 395288 w 823913"/>
                    <a:gd name="connsiteY72" fmla="*/ 274638 h 1123950"/>
                    <a:gd name="connsiteX73" fmla="*/ 409556 w 823913"/>
                    <a:gd name="connsiteY73" fmla="*/ 260350 h 1123950"/>
                    <a:gd name="connsiteX74" fmla="*/ 163600 w 823913"/>
                    <a:gd name="connsiteY74" fmla="*/ 250825 h 1123950"/>
                    <a:gd name="connsiteX75" fmla="*/ 279314 w 823913"/>
                    <a:gd name="connsiteY75" fmla="*/ 250825 h 1123950"/>
                    <a:gd name="connsiteX76" fmla="*/ 293688 w 823913"/>
                    <a:gd name="connsiteY76" fmla="*/ 265184 h 1123950"/>
                    <a:gd name="connsiteX77" fmla="*/ 293688 w 823913"/>
                    <a:gd name="connsiteY77" fmla="*/ 379341 h 1123950"/>
                    <a:gd name="connsiteX78" fmla="*/ 279314 w 823913"/>
                    <a:gd name="connsiteY78" fmla="*/ 393700 h 1123950"/>
                    <a:gd name="connsiteX79" fmla="*/ 163600 w 823913"/>
                    <a:gd name="connsiteY79" fmla="*/ 393700 h 1123950"/>
                    <a:gd name="connsiteX80" fmla="*/ 149225 w 823913"/>
                    <a:gd name="connsiteY80" fmla="*/ 379341 h 1123950"/>
                    <a:gd name="connsiteX81" fmla="*/ 149225 w 823913"/>
                    <a:gd name="connsiteY81" fmla="*/ 265184 h 1123950"/>
                    <a:gd name="connsiteX82" fmla="*/ 163600 w 823913"/>
                    <a:gd name="connsiteY82" fmla="*/ 250825 h 1123950"/>
                    <a:gd name="connsiteX83" fmla="*/ 581025 w 823913"/>
                    <a:gd name="connsiteY83" fmla="*/ 0 h 1123950"/>
                    <a:gd name="connsiteX84" fmla="*/ 809668 w 823913"/>
                    <a:gd name="connsiteY84" fmla="*/ 0 h 1123950"/>
                    <a:gd name="connsiteX85" fmla="*/ 823913 w 823913"/>
                    <a:gd name="connsiteY85" fmla="*/ 14296 h 1123950"/>
                    <a:gd name="connsiteX86" fmla="*/ 823913 w 823913"/>
                    <a:gd name="connsiteY86" fmla="*/ 833438 h 1123950"/>
                    <a:gd name="connsiteX87" fmla="*/ 795422 w 823913"/>
                    <a:gd name="connsiteY87" fmla="*/ 824146 h 1123950"/>
                    <a:gd name="connsiteX88" fmla="*/ 795422 w 823913"/>
                    <a:gd name="connsiteY88" fmla="*/ 28591 h 1123950"/>
                    <a:gd name="connsiteX89" fmla="*/ 581025 w 823913"/>
                    <a:gd name="connsiteY89" fmla="*/ 28591 h 1123950"/>
                    <a:gd name="connsiteX90" fmla="*/ 581025 w 823913"/>
                    <a:gd name="connsiteY90" fmla="*/ 0 h 1123950"/>
                    <a:gd name="connsiteX91" fmla="*/ 14275 w 823913"/>
                    <a:gd name="connsiteY91" fmla="*/ 0 h 1123950"/>
                    <a:gd name="connsiteX92" fmla="*/ 257673 w 823913"/>
                    <a:gd name="connsiteY92" fmla="*/ 0 h 1123950"/>
                    <a:gd name="connsiteX93" fmla="*/ 257673 w 823913"/>
                    <a:gd name="connsiteY93" fmla="*/ 28599 h 1123950"/>
                    <a:gd name="connsiteX94" fmla="*/ 28551 w 823913"/>
                    <a:gd name="connsiteY94" fmla="*/ 28599 h 1123950"/>
                    <a:gd name="connsiteX95" fmla="*/ 28551 w 823913"/>
                    <a:gd name="connsiteY95" fmla="*/ 1095351 h 1123950"/>
                    <a:gd name="connsiteX96" fmla="*/ 553890 w 823913"/>
                    <a:gd name="connsiteY96" fmla="*/ 1095351 h 1123950"/>
                    <a:gd name="connsiteX97" fmla="*/ 566738 w 823913"/>
                    <a:gd name="connsiteY97" fmla="*/ 1123950 h 1123950"/>
                    <a:gd name="connsiteX98" fmla="*/ 14275 w 823913"/>
                    <a:gd name="connsiteY98" fmla="*/ 1123950 h 1123950"/>
                    <a:gd name="connsiteX99" fmla="*/ 0 w 823913"/>
                    <a:gd name="connsiteY99" fmla="*/ 1109651 h 1123950"/>
                    <a:gd name="connsiteX100" fmla="*/ 0 w 823913"/>
                    <a:gd name="connsiteY100" fmla="*/ 14299 h 1123950"/>
                    <a:gd name="connsiteX101" fmla="*/ 14275 w 823913"/>
                    <a:gd name="connsiteY101" fmla="*/ 0 h 112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823913" h="1123950">
                      <a:moveTo>
                        <a:pt x="409607" y="866775"/>
                      </a:moveTo>
                      <a:cubicBezTo>
                        <a:pt x="514133" y="866775"/>
                        <a:pt x="577135" y="866775"/>
                        <a:pt x="614363" y="866775"/>
                      </a:cubicBezTo>
                      <a:cubicBezTo>
                        <a:pt x="604340" y="875567"/>
                        <a:pt x="595749" y="885092"/>
                        <a:pt x="587158" y="895350"/>
                      </a:cubicBezTo>
                      <a:cubicBezTo>
                        <a:pt x="409607" y="895350"/>
                        <a:pt x="409607" y="895350"/>
                        <a:pt x="409607" y="895350"/>
                      </a:cubicBezTo>
                      <a:cubicBezTo>
                        <a:pt x="401732" y="895350"/>
                        <a:pt x="395288" y="888756"/>
                        <a:pt x="395288" y="880696"/>
                      </a:cubicBezTo>
                      <a:cubicBezTo>
                        <a:pt x="395288" y="873369"/>
                        <a:pt x="401732" y="866775"/>
                        <a:pt x="409607" y="866775"/>
                      </a:cubicBezTo>
                      <a:close/>
                      <a:moveTo>
                        <a:pt x="179388" y="787400"/>
                      </a:moveTo>
                      <a:cubicBezTo>
                        <a:pt x="179388" y="873125"/>
                        <a:pt x="179388" y="873125"/>
                        <a:pt x="179388" y="873125"/>
                      </a:cubicBezTo>
                      <a:cubicBezTo>
                        <a:pt x="265113" y="873125"/>
                        <a:pt x="265113" y="873125"/>
                        <a:pt x="265113" y="873125"/>
                      </a:cubicBezTo>
                      <a:cubicBezTo>
                        <a:pt x="265113" y="787400"/>
                        <a:pt x="265113" y="787400"/>
                        <a:pt x="265113" y="787400"/>
                      </a:cubicBezTo>
                      <a:cubicBezTo>
                        <a:pt x="179388" y="787400"/>
                        <a:pt x="179388" y="787400"/>
                        <a:pt x="179388" y="787400"/>
                      </a:cubicBezTo>
                      <a:close/>
                      <a:moveTo>
                        <a:pt x="409556" y="774700"/>
                      </a:moveTo>
                      <a:cubicBezTo>
                        <a:pt x="669945" y="774700"/>
                        <a:pt x="669945" y="774700"/>
                        <a:pt x="669945" y="774700"/>
                      </a:cubicBezTo>
                      <a:cubicBezTo>
                        <a:pt x="677793" y="774700"/>
                        <a:pt x="684213" y="780586"/>
                        <a:pt x="684213" y="789414"/>
                      </a:cubicBezTo>
                      <a:cubicBezTo>
                        <a:pt x="684213" y="798242"/>
                        <a:pt x="677793" y="804863"/>
                        <a:pt x="669945" y="804863"/>
                      </a:cubicBezTo>
                      <a:cubicBezTo>
                        <a:pt x="409556" y="804863"/>
                        <a:pt x="409556" y="804863"/>
                        <a:pt x="409556" y="804863"/>
                      </a:cubicBezTo>
                      <a:cubicBezTo>
                        <a:pt x="401709" y="804863"/>
                        <a:pt x="395288" y="798242"/>
                        <a:pt x="395288" y="789414"/>
                      </a:cubicBezTo>
                      <a:cubicBezTo>
                        <a:pt x="395288" y="780586"/>
                        <a:pt x="401709" y="774700"/>
                        <a:pt x="409556" y="774700"/>
                      </a:cubicBezTo>
                      <a:close/>
                      <a:moveTo>
                        <a:pt x="163600" y="758825"/>
                      </a:moveTo>
                      <a:cubicBezTo>
                        <a:pt x="279314" y="758825"/>
                        <a:pt x="279314" y="758825"/>
                        <a:pt x="279314" y="758825"/>
                      </a:cubicBezTo>
                      <a:cubicBezTo>
                        <a:pt x="287220" y="758825"/>
                        <a:pt x="293688" y="765255"/>
                        <a:pt x="293688" y="773113"/>
                      </a:cubicBezTo>
                      <a:cubicBezTo>
                        <a:pt x="293688" y="887413"/>
                        <a:pt x="293688" y="887413"/>
                        <a:pt x="293688" y="887413"/>
                      </a:cubicBezTo>
                      <a:cubicBezTo>
                        <a:pt x="293688" y="895271"/>
                        <a:pt x="287220" y="901700"/>
                        <a:pt x="279314" y="901700"/>
                      </a:cubicBezTo>
                      <a:cubicBezTo>
                        <a:pt x="163600" y="901700"/>
                        <a:pt x="163600" y="901700"/>
                        <a:pt x="163600" y="901700"/>
                      </a:cubicBezTo>
                      <a:cubicBezTo>
                        <a:pt x="155694" y="901700"/>
                        <a:pt x="149225" y="895271"/>
                        <a:pt x="149225" y="887413"/>
                      </a:cubicBezTo>
                      <a:cubicBezTo>
                        <a:pt x="149225" y="773113"/>
                        <a:pt x="149225" y="773113"/>
                        <a:pt x="149225" y="773113"/>
                      </a:cubicBezTo>
                      <a:cubicBezTo>
                        <a:pt x="149225" y="765255"/>
                        <a:pt x="155694" y="758825"/>
                        <a:pt x="163600" y="758825"/>
                      </a:cubicBezTo>
                      <a:close/>
                      <a:moveTo>
                        <a:pt x="409556" y="608012"/>
                      </a:moveTo>
                      <a:cubicBezTo>
                        <a:pt x="669945" y="608012"/>
                        <a:pt x="669945" y="608012"/>
                        <a:pt x="669945" y="608012"/>
                      </a:cubicBezTo>
                      <a:cubicBezTo>
                        <a:pt x="677793" y="608012"/>
                        <a:pt x="684213" y="614476"/>
                        <a:pt x="684213" y="623094"/>
                      </a:cubicBezTo>
                      <a:cubicBezTo>
                        <a:pt x="684213" y="631712"/>
                        <a:pt x="677793" y="638175"/>
                        <a:pt x="669945" y="638175"/>
                      </a:cubicBezTo>
                      <a:cubicBezTo>
                        <a:pt x="409556" y="638175"/>
                        <a:pt x="409556" y="638175"/>
                        <a:pt x="409556" y="638175"/>
                      </a:cubicBezTo>
                      <a:cubicBezTo>
                        <a:pt x="401709" y="638175"/>
                        <a:pt x="395288" y="631712"/>
                        <a:pt x="395288" y="623094"/>
                      </a:cubicBezTo>
                      <a:cubicBezTo>
                        <a:pt x="395288" y="614476"/>
                        <a:pt x="401709" y="608012"/>
                        <a:pt x="409556" y="608012"/>
                      </a:cubicBezTo>
                      <a:close/>
                      <a:moveTo>
                        <a:pt x="179388" y="536575"/>
                      </a:moveTo>
                      <a:cubicBezTo>
                        <a:pt x="179388" y="622300"/>
                        <a:pt x="179388" y="622300"/>
                        <a:pt x="179388" y="622300"/>
                      </a:cubicBezTo>
                      <a:cubicBezTo>
                        <a:pt x="265113" y="622300"/>
                        <a:pt x="265113" y="622300"/>
                        <a:pt x="265113" y="622300"/>
                      </a:cubicBezTo>
                      <a:cubicBezTo>
                        <a:pt x="265113" y="536575"/>
                        <a:pt x="265113" y="536575"/>
                        <a:pt x="265113" y="536575"/>
                      </a:cubicBezTo>
                      <a:cubicBezTo>
                        <a:pt x="179388" y="536575"/>
                        <a:pt x="179388" y="536575"/>
                        <a:pt x="179388" y="536575"/>
                      </a:cubicBezTo>
                      <a:close/>
                      <a:moveTo>
                        <a:pt x="409556" y="517525"/>
                      </a:moveTo>
                      <a:cubicBezTo>
                        <a:pt x="669945" y="517525"/>
                        <a:pt x="669945" y="517525"/>
                        <a:pt x="669945" y="517525"/>
                      </a:cubicBezTo>
                      <a:cubicBezTo>
                        <a:pt x="677793" y="517525"/>
                        <a:pt x="684213" y="523955"/>
                        <a:pt x="684213" y="531813"/>
                      </a:cubicBezTo>
                      <a:cubicBezTo>
                        <a:pt x="684213" y="539671"/>
                        <a:pt x="677793" y="546100"/>
                        <a:pt x="669945" y="546100"/>
                      </a:cubicBezTo>
                      <a:cubicBezTo>
                        <a:pt x="409556" y="546100"/>
                        <a:pt x="409556" y="546100"/>
                        <a:pt x="409556" y="546100"/>
                      </a:cubicBezTo>
                      <a:cubicBezTo>
                        <a:pt x="401709" y="546100"/>
                        <a:pt x="395288" y="539671"/>
                        <a:pt x="395288" y="531813"/>
                      </a:cubicBezTo>
                      <a:cubicBezTo>
                        <a:pt x="395288" y="523955"/>
                        <a:pt x="401709" y="517525"/>
                        <a:pt x="409556" y="517525"/>
                      </a:cubicBezTo>
                      <a:close/>
                      <a:moveTo>
                        <a:pt x="163600" y="508000"/>
                      </a:moveTo>
                      <a:cubicBezTo>
                        <a:pt x="279314" y="508000"/>
                        <a:pt x="279314" y="508000"/>
                        <a:pt x="279314" y="508000"/>
                      </a:cubicBezTo>
                      <a:cubicBezTo>
                        <a:pt x="287220" y="508000"/>
                        <a:pt x="293688" y="515108"/>
                        <a:pt x="293688" y="522927"/>
                      </a:cubicBezTo>
                      <a:cubicBezTo>
                        <a:pt x="293688" y="636659"/>
                        <a:pt x="293688" y="636659"/>
                        <a:pt x="293688" y="636659"/>
                      </a:cubicBezTo>
                      <a:cubicBezTo>
                        <a:pt x="293688" y="644478"/>
                        <a:pt x="287220" y="650875"/>
                        <a:pt x="279314" y="650875"/>
                      </a:cubicBezTo>
                      <a:cubicBezTo>
                        <a:pt x="163600" y="650875"/>
                        <a:pt x="163600" y="650875"/>
                        <a:pt x="163600" y="650875"/>
                      </a:cubicBezTo>
                      <a:cubicBezTo>
                        <a:pt x="155694" y="650875"/>
                        <a:pt x="149225" y="644478"/>
                        <a:pt x="149225" y="636659"/>
                      </a:cubicBezTo>
                      <a:cubicBezTo>
                        <a:pt x="149225" y="522927"/>
                        <a:pt x="149225" y="522927"/>
                        <a:pt x="149225" y="522927"/>
                      </a:cubicBezTo>
                      <a:cubicBezTo>
                        <a:pt x="149225" y="515108"/>
                        <a:pt x="155694" y="508000"/>
                        <a:pt x="163600" y="508000"/>
                      </a:cubicBezTo>
                      <a:close/>
                      <a:moveTo>
                        <a:pt x="409556" y="352425"/>
                      </a:moveTo>
                      <a:cubicBezTo>
                        <a:pt x="669945" y="352425"/>
                        <a:pt x="669945" y="352425"/>
                        <a:pt x="669945" y="352425"/>
                      </a:cubicBezTo>
                      <a:cubicBezTo>
                        <a:pt x="677793" y="352425"/>
                        <a:pt x="684213" y="358855"/>
                        <a:pt x="684213" y="366713"/>
                      </a:cubicBezTo>
                      <a:cubicBezTo>
                        <a:pt x="684213" y="374571"/>
                        <a:pt x="677793" y="381000"/>
                        <a:pt x="669945" y="381000"/>
                      </a:cubicBezTo>
                      <a:cubicBezTo>
                        <a:pt x="409556" y="381000"/>
                        <a:pt x="409556" y="381000"/>
                        <a:pt x="409556" y="381000"/>
                      </a:cubicBezTo>
                      <a:cubicBezTo>
                        <a:pt x="401709" y="381000"/>
                        <a:pt x="395288" y="374571"/>
                        <a:pt x="395288" y="366713"/>
                      </a:cubicBezTo>
                      <a:cubicBezTo>
                        <a:pt x="395288" y="358855"/>
                        <a:pt x="401709" y="352425"/>
                        <a:pt x="409556" y="352425"/>
                      </a:cubicBezTo>
                      <a:close/>
                      <a:moveTo>
                        <a:pt x="179388" y="279400"/>
                      </a:moveTo>
                      <a:cubicBezTo>
                        <a:pt x="179388" y="365125"/>
                        <a:pt x="179388" y="365125"/>
                        <a:pt x="179388" y="365125"/>
                      </a:cubicBezTo>
                      <a:cubicBezTo>
                        <a:pt x="265113" y="365125"/>
                        <a:pt x="265113" y="365125"/>
                        <a:pt x="265113" y="365125"/>
                      </a:cubicBezTo>
                      <a:cubicBezTo>
                        <a:pt x="265113" y="279400"/>
                        <a:pt x="265113" y="279400"/>
                        <a:pt x="265113" y="279400"/>
                      </a:cubicBezTo>
                      <a:cubicBezTo>
                        <a:pt x="179388" y="279400"/>
                        <a:pt x="179388" y="279400"/>
                        <a:pt x="179388" y="279400"/>
                      </a:cubicBezTo>
                      <a:close/>
                      <a:moveTo>
                        <a:pt x="409556" y="260350"/>
                      </a:moveTo>
                      <a:cubicBezTo>
                        <a:pt x="669945" y="260350"/>
                        <a:pt x="669945" y="260350"/>
                        <a:pt x="669945" y="260350"/>
                      </a:cubicBezTo>
                      <a:cubicBezTo>
                        <a:pt x="677793" y="260350"/>
                        <a:pt x="684213" y="266780"/>
                        <a:pt x="684213" y="274638"/>
                      </a:cubicBezTo>
                      <a:cubicBezTo>
                        <a:pt x="684213" y="283210"/>
                        <a:pt x="677793" y="288925"/>
                        <a:pt x="669945" y="288925"/>
                      </a:cubicBezTo>
                      <a:cubicBezTo>
                        <a:pt x="409556" y="288925"/>
                        <a:pt x="409556" y="288925"/>
                        <a:pt x="409556" y="288925"/>
                      </a:cubicBezTo>
                      <a:cubicBezTo>
                        <a:pt x="401709" y="288925"/>
                        <a:pt x="395288" y="283210"/>
                        <a:pt x="395288" y="274638"/>
                      </a:cubicBezTo>
                      <a:cubicBezTo>
                        <a:pt x="395288" y="266780"/>
                        <a:pt x="401709" y="260350"/>
                        <a:pt x="409556" y="260350"/>
                      </a:cubicBezTo>
                      <a:close/>
                      <a:moveTo>
                        <a:pt x="163600" y="250825"/>
                      </a:moveTo>
                      <a:cubicBezTo>
                        <a:pt x="279314" y="250825"/>
                        <a:pt x="279314" y="250825"/>
                        <a:pt x="279314" y="250825"/>
                      </a:cubicBezTo>
                      <a:cubicBezTo>
                        <a:pt x="287220" y="250825"/>
                        <a:pt x="293688" y="257287"/>
                        <a:pt x="293688" y="265184"/>
                      </a:cubicBezTo>
                      <a:cubicBezTo>
                        <a:pt x="293688" y="379341"/>
                        <a:pt x="293688" y="379341"/>
                        <a:pt x="293688" y="379341"/>
                      </a:cubicBezTo>
                      <a:cubicBezTo>
                        <a:pt x="293688" y="387238"/>
                        <a:pt x="287220" y="393700"/>
                        <a:pt x="279314" y="393700"/>
                      </a:cubicBezTo>
                      <a:cubicBezTo>
                        <a:pt x="163600" y="393700"/>
                        <a:pt x="163600" y="393700"/>
                        <a:pt x="163600" y="393700"/>
                      </a:cubicBezTo>
                      <a:cubicBezTo>
                        <a:pt x="155694" y="393700"/>
                        <a:pt x="149225" y="387238"/>
                        <a:pt x="149225" y="379341"/>
                      </a:cubicBezTo>
                      <a:cubicBezTo>
                        <a:pt x="149225" y="265184"/>
                        <a:pt x="149225" y="265184"/>
                        <a:pt x="149225" y="265184"/>
                      </a:cubicBezTo>
                      <a:cubicBezTo>
                        <a:pt x="149225" y="257287"/>
                        <a:pt x="155694" y="250825"/>
                        <a:pt x="163600" y="250825"/>
                      </a:cubicBezTo>
                      <a:close/>
                      <a:moveTo>
                        <a:pt x="581025" y="0"/>
                      </a:moveTo>
                      <a:cubicBezTo>
                        <a:pt x="581025" y="0"/>
                        <a:pt x="581025" y="0"/>
                        <a:pt x="809668" y="0"/>
                      </a:cubicBezTo>
                      <a:cubicBezTo>
                        <a:pt x="817503" y="0"/>
                        <a:pt x="823913" y="6433"/>
                        <a:pt x="823913" y="14296"/>
                      </a:cubicBezTo>
                      <a:cubicBezTo>
                        <a:pt x="823913" y="14296"/>
                        <a:pt x="823913" y="14296"/>
                        <a:pt x="823913" y="833438"/>
                      </a:cubicBezTo>
                      <a:cubicBezTo>
                        <a:pt x="814654" y="829864"/>
                        <a:pt x="805394" y="827005"/>
                        <a:pt x="795422" y="824146"/>
                      </a:cubicBezTo>
                      <a:cubicBezTo>
                        <a:pt x="795422" y="808421"/>
                        <a:pt x="795422" y="704777"/>
                        <a:pt x="795422" y="28591"/>
                      </a:cubicBezTo>
                      <a:cubicBezTo>
                        <a:pt x="795422" y="28591"/>
                        <a:pt x="795422" y="28591"/>
                        <a:pt x="581025" y="28591"/>
                      </a:cubicBezTo>
                      <a:cubicBezTo>
                        <a:pt x="581025" y="28591"/>
                        <a:pt x="581025" y="28591"/>
                        <a:pt x="581025" y="0"/>
                      </a:cubicBezTo>
                      <a:close/>
                      <a:moveTo>
                        <a:pt x="14275" y="0"/>
                      </a:moveTo>
                      <a:cubicBezTo>
                        <a:pt x="14275" y="0"/>
                        <a:pt x="14275" y="0"/>
                        <a:pt x="257673" y="0"/>
                      </a:cubicBezTo>
                      <a:cubicBezTo>
                        <a:pt x="257673" y="0"/>
                        <a:pt x="257673" y="0"/>
                        <a:pt x="257673" y="28599"/>
                      </a:cubicBezTo>
                      <a:cubicBezTo>
                        <a:pt x="257673" y="28599"/>
                        <a:pt x="257673" y="28599"/>
                        <a:pt x="28551" y="28599"/>
                      </a:cubicBezTo>
                      <a:cubicBezTo>
                        <a:pt x="28551" y="28599"/>
                        <a:pt x="28551" y="28599"/>
                        <a:pt x="28551" y="1095351"/>
                      </a:cubicBezTo>
                      <a:cubicBezTo>
                        <a:pt x="28551" y="1095351"/>
                        <a:pt x="28551" y="1095351"/>
                        <a:pt x="553890" y="1095351"/>
                      </a:cubicBezTo>
                      <a:cubicBezTo>
                        <a:pt x="557459" y="1105361"/>
                        <a:pt x="561742" y="1115370"/>
                        <a:pt x="566738" y="1123950"/>
                      </a:cubicBezTo>
                      <a:cubicBezTo>
                        <a:pt x="551035" y="1123950"/>
                        <a:pt x="466810" y="1123950"/>
                        <a:pt x="14275" y="1123950"/>
                      </a:cubicBezTo>
                      <a:cubicBezTo>
                        <a:pt x="6424" y="1123950"/>
                        <a:pt x="0" y="1117515"/>
                        <a:pt x="0" y="1109651"/>
                      </a:cubicBezTo>
                      <a:cubicBezTo>
                        <a:pt x="0" y="1109651"/>
                        <a:pt x="0" y="1109651"/>
                        <a:pt x="0" y="14299"/>
                      </a:cubicBezTo>
                      <a:cubicBezTo>
                        <a:pt x="0" y="6435"/>
                        <a:pt x="6424" y="0"/>
                        <a:pt x="1427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4" name="Freeform 83"/>
                <p:cNvSpPr>
                  <a:spLocks/>
                </p:cNvSpPr>
                <p:nvPr/>
              </p:nvSpPr>
              <p:spPr bwMode="auto">
                <a:xfrm>
                  <a:off x="5922963" y="2774950"/>
                  <a:ext cx="633413" cy="1306513"/>
                </a:xfrm>
                <a:custGeom>
                  <a:avLst/>
                  <a:gdLst>
                    <a:gd name="connsiteX0" fmla="*/ 380848 w 633413"/>
                    <a:gd name="connsiteY0" fmla="*/ 1036484 h 1306513"/>
                    <a:gd name="connsiteX1" fmla="*/ 371557 w 633413"/>
                    <a:gd name="connsiteY1" fmla="*/ 1040067 h 1306513"/>
                    <a:gd name="connsiteX2" fmla="*/ 371557 w 633413"/>
                    <a:gd name="connsiteY2" fmla="*/ 1060136 h 1306513"/>
                    <a:gd name="connsiteX3" fmla="*/ 442309 w 633413"/>
                    <a:gd name="connsiteY3" fmla="*/ 1131811 h 1306513"/>
                    <a:gd name="connsiteX4" fmla="*/ 371557 w 633413"/>
                    <a:gd name="connsiteY4" fmla="*/ 1202769 h 1306513"/>
                    <a:gd name="connsiteX5" fmla="*/ 371557 w 633413"/>
                    <a:gd name="connsiteY5" fmla="*/ 1222838 h 1306513"/>
                    <a:gd name="connsiteX6" fmla="*/ 380848 w 633413"/>
                    <a:gd name="connsiteY6" fmla="*/ 1227138 h 1306513"/>
                    <a:gd name="connsiteX7" fmla="*/ 391568 w 633413"/>
                    <a:gd name="connsiteY7" fmla="*/ 1222838 h 1306513"/>
                    <a:gd name="connsiteX8" fmla="*/ 462320 w 633413"/>
                    <a:gd name="connsiteY8" fmla="*/ 1151880 h 1306513"/>
                    <a:gd name="connsiteX9" fmla="*/ 533072 w 633413"/>
                    <a:gd name="connsiteY9" fmla="*/ 1222838 h 1306513"/>
                    <a:gd name="connsiteX10" fmla="*/ 542363 w 633413"/>
                    <a:gd name="connsiteY10" fmla="*/ 1227138 h 1306513"/>
                    <a:gd name="connsiteX11" fmla="*/ 553083 w 633413"/>
                    <a:gd name="connsiteY11" fmla="*/ 1222838 h 1306513"/>
                    <a:gd name="connsiteX12" fmla="*/ 553083 w 633413"/>
                    <a:gd name="connsiteY12" fmla="*/ 1202769 h 1306513"/>
                    <a:gd name="connsiteX13" fmla="*/ 483045 w 633413"/>
                    <a:gd name="connsiteY13" fmla="*/ 1131811 h 1306513"/>
                    <a:gd name="connsiteX14" fmla="*/ 553083 w 633413"/>
                    <a:gd name="connsiteY14" fmla="*/ 1060136 h 1306513"/>
                    <a:gd name="connsiteX15" fmla="*/ 553083 w 633413"/>
                    <a:gd name="connsiteY15" fmla="*/ 1040067 h 1306513"/>
                    <a:gd name="connsiteX16" fmla="*/ 533072 w 633413"/>
                    <a:gd name="connsiteY16" fmla="*/ 1040067 h 1306513"/>
                    <a:gd name="connsiteX17" fmla="*/ 462320 w 633413"/>
                    <a:gd name="connsiteY17" fmla="*/ 1111742 h 1306513"/>
                    <a:gd name="connsiteX18" fmla="*/ 391568 w 633413"/>
                    <a:gd name="connsiteY18" fmla="*/ 1040067 h 1306513"/>
                    <a:gd name="connsiteX19" fmla="*/ 380848 w 633413"/>
                    <a:gd name="connsiteY19" fmla="*/ 1036484 h 1306513"/>
                    <a:gd name="connsiteX20" fmla="*/ 459937 w 633413"/>
                    <a:gd name="connsiteY20" fmla="*/ 955675 h 1306513"/>
                    <a:gd name="connsiteX21" fmla="*/ 633413 w 633413"/>
                    <a:gd name="connsiteY21" fmla="*/ 1131094 h 1306513"/>
                    <a:gd name="connsiteX22" fmla="*/ 459937 w 633413"/>
                    <a:gd name="connsiteY22" fmla="*/ 1306513 h 1306513"/>
                    <a:gd name="connsiteX23" fmla="*/ 285750 w 633413"/>
                    <a:gd name="connsiteY23" fmla="*/ 1131094 h 1306513"/>
                    <a:gd name="connsiteX24" fmla="*/ 342628 w 633413"/>
                    <a:gd name="connsiteY24" fmla="*/ 1000783 h 1306513"/>
                    <a:gd name="connsiteX25" fmla="*/ 383864 w 633413"/>
                    <a:gd name="connsiteY25" fmla="*/ 972859 h 1306513"/>
                    <a:gd name="connsiteX26" fmla="*/ 459937 w 633413"/>
                    <a:gd name="connsiteY26" fmla="*/ 955675 h 1306513"/>
                    <a:gd name="connsiteX27" fmla="*/ 132556 w 633413"/>
                    <a:gd name="connsiteY27" fmla="*/ 28575 h 1306513"/>
                    <a:gd name="connsiteX28" fmla="*/ 84137 w 633413"/>
                    <a:gd name="connsiteY28" fmla="*/ 60325 h 1306513"/>
                    <a:gd name="connsiteX29" fmla="*/ 180975 w 633413"/>
                    <a:gd name="connsiteY29" fmla="*/ 60325 h 1306513"/>
                    <a:gd name="connsiteX30" fmla="*/ 132556 w 633413"/>
                    <a:gd name="connsiteY30" fmla="*/ 28575 h 1306513"/>
                    <a:gd name="connsiteX31" fmla="*/ 132557 w 633413"/>
                    <a:gd name="connsiteY31" fmla="*/ 0 h 1306513"/>
                    <a:gd name="connsiteX32" fmla="*/ 210950 w 633413"/>
                    <a:gd name="connsiteY32" fmla="*/ 59506 h 1306513"/>
                    <a:gd name="connsiteX33" fmla="*/ 250860 w 633413"/>
                    <a:gd name="connsiteY33" fmla="*/ 59506 h 1306513"/>
                    <a:gd name="connsiteX34" fmla="*/ 265113 w 633413"/>
                    <a:gd name="connsiteY34" fmla="*/ 73844 h 1306513"/>
                    <a:gd name="connsiteX35" fmla="*/ 265113 w 633413"/>
                    <a:gd name="connsiteY35" fmla="*/ 163461 h 1306513"/>
                    <a:gd name="connsiteX36" fmla="*/ 250860 w 633413"/>
                    <a:gd name="connsiteY36" fmla="*/ 177800 h 1306513"/>
                    <a:gd name="connsiteX37" fmla="*/ 14254 w 633413"/>
                    <a:gd name="connsiteY37" fmla="*/ 177800 h 1306513"/>
                    <a:gd name="connsiteX38" fmla="*/ 0 w 633413"/>
                    <a:gd name="connsiteY38" fmla="*/ 163461 h 1306513"/>
                    <a:gd name="connsiteX39" fmla="*/ 0 w 633413"/>
                    <a:gd name="connsiteY39" fmla="*/ 73844 h 1306513"/>
                    <a:gd name="connsiteX40" fmla="*/ 14254 w 633413"/>
                    <a:gd name="connsiteY40" fmla="*/ 59506 h 1306513"/>
                    <a:gd name="connsiteX41" fmla="*/ 54876 w 633413"/>
                    <a:gd name="connsiteY41" fmla="*/ 59506 h 1306513"/>
                    <a:gd name="connsiteX42" fmla="*/ 132557 w 633413"/>
                    <a:gd name="connsiteY42" fmla="*/ 0 h 130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33413" h="1306513">
                      <a:moveTo>
                        <a:pt x="380848" y="1036484"/>
                      </a:moveTo>
                      <a:cubicBezTo>
                        <a:pt x="377275" y="1036484"/>
                        <a:pt x="373701" y="1037200"/>
                        <a:pt x="371557" y="1040067"/>
                      </a:cubicBezTo>
                      <a:cubicBezTo>
                        <a:pt x="365125" y="1045801"/>
                        <a:pt x="365125" y="1055119"/>
                        <a:pt x="371557" y="1060136"/>
                      </a:cubicBezTo>
                      <a:cubicBezTo>
                        <a:pt x="371557" y="1060136"/>
                        <a:pt x="371557" y="1060136"/>
                        <a:pt x="442309" y="1131811"/>
                      </a:cubicBezTo>
                      <a:cubicBezTo>
                        <a:pt x="442309" y="1131811"/>
                        <a:pt x="442309" y="1131811"/>
                        <a:pt x="371557" y="1202769"/>
                      </a:cubicBezTo>
                      <a:cubicBezTo>
                        <a:pt x="365125" y="1208503"/>
                        <a:pt x="365125" y="1217820"/>
                        <a:pt x="371557" y="1222838"/>
                      </a:cubicBezTo>
                      <a:cubicBezTo>
                        <a:pt x="373701" y="1225705"/>
                        <a:pt x="377989" y="1227138"/>
                        <a:pt x="380848" y="1227138"/>
                      </a:cubicBezTo>
                      <a:cubicBezTo>
                        <a:pt x="385136" y="1227138"/>
                        <a:pt x="388709" y="1225705"/>
                        <a:pt x="391568" y="1222838"/>
                      </a:cubicBezTo>
                      <a:cubicBezTo>
                        <a:pt x="391568" y="1222838"/>
                        <a:pt x="391568" y="1222838"/>
                        <a:pt x="462320" y="1151880"/>
                      </a:cubicBezTo>
                      <a:cubicBezTo>
                        <a:pt x="462320" y="1151880"/>
                        <a:pt x="462320" y="1151880"/>
                        <a:pt x="533072" y="1222838"/>
                      </a:cubicBezTo>
                      <a:cubicBezTo>
                        <a:pt x="535216" y="1225705"/>
                        <a:pt x="539504" y="1227138"/>
                        <a:pt x="542363" y="1227138"/>
                      </a:cubicBezTo>
                      <a:cubicBezTo>
                        <a:pt x="546651" y="1227138"/>
                        <a:pt x="550224" y="1225705"/>
                        <a:pt x="553083" y="1222838"/>
                      </a:cubicBezTo>
                      <a:cubicBezTo>
                        <a:pt x="558800" y="1217820"/>
                        <a:pt x="558800" y="1208503"/>
                        <a:pt x="553083" y="1202769"/>
                      </a:cubicBezTo>
                      <a:cubicBezTo>
                        <a:pt x="553083" y="1202769"/>
                        <a:pt x="553083" y="1202769"/>
                        <a:pt x="483045" y="1131811"/>
                      </a:cubicBezTo>
                      <a:cubicBezTo>
                        <a:pt x="483045" y="1131811"/>
                        <a:pt x="483045" y="1131811"/>
                        <a:pt x="553083" y="1060136"/>
                      </a:cubicBezTo>
                      <a:cubicBezTo>
                        <a:pt x="558800" y="1055119"/>
                        <a:pt x="558800" y="1045801"/>
                        <a:pt x="553083" y="1040067"/>
                      </a:cubicBezTo>
                      <a:cubicBezTo>
                        <a:pt x="546651" y="1035050"/>
                        <a:pt x="538075" y="1035050"/>
                        <a:pt x="533072" y="1040067"/>
                      </a:cubicBezTo>
                      <a:cubicBezTo>
                        <a:pt x="533072" y="1040067"/>
                        <a:pt x="533072" y="1040067"/>
                        <a:pt x="462320" y="1111742"/>
                      </a:cubicBezTo>
                      <a:cubicBezTo>
                        <a:pt x="462320" y="1111742"/>
                        <a:pt x="462320" y="1111742"/>
                        <a:pt x="391568" y="1040067"/>
                      </a:cubicBezTo>
                      <a:cubicBezTo>
                        <a:pt x="388709" y="1037200"/>
                        <a:pt x="384421" y="1036484"/>
                        <a:pt x="380848" y="1036484"/>
                      </a:cubicBezTo>
                      <a:close/>
                      <a:moveTo>
                        <a:pt x="459937" y="955675"/>
                      </a:moveTo>
                      <a:cubicBezTo>
                        <a:pt x="555918" y="955675"/>
                        <a:pt x="633413" y="1034435"/>
                        <a:pt x="633413" y="1131094"/>
                      </a:cubicBezTo>
                      <a:cubicBezTo>
                        <a:pt x="633413" y="1227754"/>
                        <a:pt x="555918" y="1306513"/>
                        <a:pt x="459937" y="1306513"/>
                      </a:cubicBezTo>
                      <a:cubicBezTo>
                        <a:pt x="363246" y="1306513"/>
                        <a:pt x="285750" y="1227754"/>
                        <a:pt x="285750" y="1131094"/>
                      </a:cubicBezTo>
                      <a:cubicBezTo>
                        <a:pt x="285750" y="1079542"/>
                        <a:pt x="307790" y="1033003"/>
                        <a:pt x="342628" y="1000783"/>
                      </a:cubicBezTo>
                      <a:cubicBezTo>
                        <a:pt x="355425" y="990043"/>
                        <a:pt x="368933" y="980735"/>
                        <a:pt x="383864" y="972859"/>
                      </a:cubicBezTo>
                      <a:cubicBezTo>
                        <a:pt x="406615" y="962119"/>
                        <a:pt x="432210" y="955675"/>
                        <a:pt x="459937" y="955675"/>
                      </a:cubicBezTo>
                      <a:close/>
                      <a:moveTo>
                        <a:pt x="132556" y="28575"/>
                      </a:moveTo>
                      <a:cubicBezTo>
                        <a:pt x="111599" y="28575"/>
                        <a:pt x="92809" y="41127"/>
                        <a:pt x="84137" y="60325"/>
                      </a:cubicBezTo>
                      <a:cubicBezTo>
                        <a:pt x="84137" y="60325"/>
                        <a:pt x="84137" y="60325"/>
                        <a:pt x="180975" y="60325"/>
                      </a:cubicBezTo>
                      <a:cubicBezTo>
                        <a:pt x="173026" y="41127"/>
                        <a:pt x="154236" y="28575"/>
                        <a:pt x="132556" y="28575"/>
                      </a:cubicBezTo>
                      <a:close/>
                      <a:moveTo>
                        <a:pt x="132557" y="0"/>
                      </a:moveTo>
                      <a:cubicBezTo>
                        <a:pt x="169616" y="0"/>
                        <a:pt x="200973" y="25093"/>
                        <a:pt x="210950" y="59506"/>
                      </a:cubicBezTo>
                      <a:cubicBezTo>
                        <a:pt x="210950" y="59506"/>
                        <a:pt x="210950" y="59506"/>
                        <a:pt x="250860" y="59506"/>
                      </a:cubicBezTo>
                      <a:cubicBezTo>
                        <a:pt x="258699" y="59506"/>
                        <a:pt x="265113" y="65958"/>
                        <a:pt x="265113" y="73844"/>
                      </a:cubicBezTo>
                      <a:cubicBezTo>
                        <a:pt x="265113" y="73844"/>
                        <a:pt x="265113" y="73844"/>
                        <a:pt x="265113" y="163461"/>
                      </a:cubicBezTo>
                      <a:cubicBezTo>
                        <a:pt x="265113" y="171348"/>
                        <a:pt x="258699" y="177800"/>
                        <a:pt x="250860" y="177800"/>
                      </a:cubicBezTo>
                      <a:cubicBezTo>
                        <a:pt x="250860" y="177800"/>
                        <a:pt x="250860" y="177800"/>
                        <a:pt x="14254" y="177800"/>
                      </a:cubicBezTo>
                      <a:cubicBezTo>
                        <a:pt x="6414" y="177800"/>
                        <a:pt x="0" y="171348"/>
                        <a:pt x="0" y="163461"/>
                      </a:cubicBezTo>
                      <a:cubicBezTo>
                        <a:pt x="0" y="163461"/>
                        <a:pt x="0" y="163461"/>
                        <a:pt x="0" y="73844"/>
                      </a:cubicBezTo>
                      <a:cubicBezTo>
                        <a:pt x="0" y="65958"/>
                        <a:pt x="6414" y="59506"/>
                        <a:pt x="14254" y="59506"/>
                      </a:cubicBezTo>
                      <a:cubicBezTo>
                        <a:pt x="14254" y="59506"/>
                        <a:pt x="14254" y="59506"/>
                        <a:pt x="54876" y="59506"/>
                      </a:cubicBezTo>
                      <a:cubicBezTo>
                        <a:pt x="64853" y="25093"/>
                        <a:pt x="96211" y="0"/>
                        <a:pt x="13255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91" name="Group 90"/>
            <p:cNvGrpSpPr>
              <a:grpSpLocks noChangeAspect="1"/>
            </p:cNvGrpSpPr>
            <p:nvPr/>
          </p:nvGrpSpPr>
          <p:grpSpPr>
            <a:xfrm>
              <a:off x="3476631" y="5493378"/>
              <a:ext cx="207583" cy="207784"/>
              <a:chOff x="5273675" y="2606675"/>
              <a:chExt cx="1644649" cy="1646238"/>
            </a:xfrm>
          </p:grpSpPr>
          <p:sp>
            <p:nvSpPr>
              <p:cNvPr id="92" name="AutoShape 3"/>
              <p:cNvSpPr>
                <a:spLocks noChangeAspect="1" noChangeArrowheads="1" noTextEdit="1"/>
              </p:cNvSpPr>
              <p:nvPr/>
            </p:nvSpPr>
            <p:spPr bwMode="auto">
              <a:xfrm>
                <a:off x="5273675" y="2606675"/>
                <a:ext cx="1644649"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3" name="Group 92"/>
              <p:cNvGrpSpPr/>
              <p:nvPr/>
            </p:nvGrpSpPr>
            <p:grpSpPr>
              <a:xfrm>
                <a:off x="5635622" y="2774948"/>
                <a:ext cx="920749" cy="1306512"/>
                <a:chOff x="5635625" y="2774950"/>
                <a:chExt cx="920751" cy="1306513"/>
              </a:xfrm>
            </p:grpSpPr>
            <p:sp>
              <p:nvSpPr>
                <p:cNvPr id="94" name="Freeform 93"/>
                <p:cNvSpPr>
                  <a:spLocks/>
                </p:cNvSpPr>
                <p:nvPr/>
              </p:nvSpPr>
              <p:spPr bwMode="auto">
                <a:xfrm>
                  <a:off x="5635625" y="2881312"/>
                  <a:ext cx="823913" cy="1123950"/>
                </a:xfrm>
                <a:custGeom>
                  <a:avLst/>
                  <a:gdLst>
                    <a:gd name="connsiteX0" fmla="*/ 409607 w 823913"/>
                    <a:gd name="connsiteY0" fmla="*/ 866775 h 1123950"/>
                    <a:gd name="connsiteX1" fmla="*/ 614363 w 823913"/>
                    <a:gd name="connsiteY1" fmla="*/ 866775 h 1123950"/>
                    <a:gd name="connsiteX2" fmla="*/ 587158 w 823913"/>
                    <a:gd name="connsiteY2" fmla="*/ 895350 h 1123950"/>
                    <a:gd name="connsiteX3" fmla="*/ 409607 w 823913"/>
                    <a:gd name="connsiteY3" fmla="*/ 895350 h 1123950"/>
                    <a:gd name="connsiteX4" fmla="*/ 395288 w 823913"/>
                    <a:gd name="connsiteY4" fmla="*/ 880696 h 1123950"/>
                    <a:gd name="connsiteX5" fmla="*/ 409607 w 823913"/>
                    <a:gd name="connsiteY5" fmla="*/ 866775 h 1123950"/>
                    <a:gd name="connsiteX6" fmla="*/ 179388 w 823913"/>
                    <a:gd name="connsiteY6" fmla="*/ 787400 h 1123950"/>
                    <a:gd name="connsiteX7" fmla="*/ 179388 w 823913"/>
                    <a:gd name="connsiteY7" fmla="*/ 873125 h 1123950"/>
                    <a:gd name="connsiteX8" fmla="*/ 265113 w 823913"/>
                    <a:gd name="connsiteY8" fmla="*/ 873125 h 1123950"/>
                    <a:gd name="connsiteX9" fmla="*/ 265113 w 823913"/>
                    <a:gd name="connsiteY9" fmla="*/ 787400 h 1123950"/>
                    <a:gd name="connsiteX10" fmla="*/ 179388 w 823913"/>
                    <a:gd name="connsiteY10" fmla="*/ 787400 h 1123950"/>
                    <a:gd name="connsiteX11" fmla="*/ 409556 w 823913"/>
                    <a:gd name="connsiteY11" fmla="*/ 774700 h 1123950"/>
                    <a:gd name="connsiteX12" fmla="*/ 669945 w 823913"/>
                    <a:gd name="connsiteY12" fmla="*/ 774700 h 1123950"/>
                    <a:gd name="connsiteX13" fmla="*/ 684213 w 823913"/>
                    <a:gd name="connsiteY13" fmla="*/ 789414 h 1123950"/>
                    <a:gd name="connsiteX14" fmla="*/ 669945 w 823913"/>
                    <a:gd name="connsiteY14" fmla="*/ 804863 h 1123950"/>
                    <a:gd name="connsiteX15" fmla="*/ 409556 w 823913"/>
                    <a:gd name="connsiteY15" fmla="*/ 804863 h 1123950"/>
                    <a:gd name="connsiteX16" fmla="*/ 395288 w 823913"/>
                    <a:gd name="connsiteY16" fmla="*/ 789414 h 1123950"/>
                    <a:gd name="connsiteX17" fmla="*/ 409556 w 823913"/>
                    <a:gd name="connsiteY17" fmla="*/ 774700 h 1123950"/>
                    <a:gd name="connsiteX18" fmla="*/ 163600 w 823913"/>
                    <a:gd name="connsiteY18" fmla="*/ 758825 h 1123950"/>
                    <a:gd name="connsiteX19" fmla="*/ 279314 w 823913"/>
                    <a:gd name="connsiteY19" fmla="*/ 758825 h 1123950"/>
                    <a:gd name="connsiteX20" fmla="*/ 293688 w 823913"/>
                    <a:gd name="connsiteY20" fmla="*/ 773113 h 1123950"/>
                    <a:gd name="connsiteX21" fmla="*/ 293688 w 823913"/>
                    <a:gd name="connsiteY21" fmla="*/ 887413 h 1123950"/>
                    <a:gd name="connsiteX22" fmla="*/ 279314 w 823913"/>
                    <a:gd name="connsiteY22" fmla="*/ 901700 h 1123950"/>
                    <a:gd name="connsiteX23" fmla="*/ 163600 w 823913"/>
                    <a:gd name="connsiteY23" fmla="*/ 901700 h 1123950"/>
                    <a:gd name="connsiteX24" fmla="*/ 149225 w 823913"/>
                    <a:gd name="connsiteY24" fmla="*/ 887413 h 1123950"/>
                    <a:gd name="connsiteX25" fmla="*/ 149225 w 823913"/>
                    <a:gd name="connsiteY25" fmla="*/ 773113 h 1123950"/>
                    <a:gd name="connsiteX26" fmla="*/ 163600 w 823913"/>
                    <a:gd name="connsiteY26" fmla="*/ 758825 h 1123950"/>
                    <a:gd name="connsiteX27" fmla="*/ 409556 w 823913"/>
                    <a:gd name="connsiteY27" fmla="*/ 608012 h 1123950"/>
                    <a:gd name="connsiteX28" fmla="*/ 669945 w 823913"/>
                    <a:gd name="connsiteY28" fmla="*/ 608012 h 1123950"/>
                    <a:gd name="connsiteX29" fmla="*/ 684213 w 823913"/>
                    <a:gd name="connsiteY29" fmla="*/ 623094 h 1123950"/>
                    <a:gd name="connsiteX30" fmla="*/ 669945 w 823913"/>
                    <a:gd name="connsiteY30" fmla="*/ 638175 h 1123950"/>
                    <a:gd name="connsiteX31" fmla="*/ 409556 w 823913"/>
                    <a:gd name="connsiteY31" fmla="*/ 638175 h 1123950"/>
                    <a:gd name="connsiteX32" fmla="*/ 395288 w 823913"/>
                    <a:gd name="connsiteY32" fmla="*/ 623094 h 1123950"/>
                    <a:gd name="connsiteX33" fmla="*/ 409556 w 823913"/>
                    <a:gd name="connsiteY33" fmla="*/ 608012 h 1123950"/>
                    <a:gd name="connsiteX34" fmla="*/ 179388 w 823913"/>
                    <a:gd name="connsiteY34" fmla="*/ 536575 h 1123950"/>
                    <a:gd name="connsiteX35" fmla="*/ 179388 w 823913"/>
                    <a:gd name="connsiteY35" fmla="*/ 622300 h 1123950"/>
                    <a:gd name="connsiteX36" fmla="*/ 265113 w 823913"/>
                    <a:gd name="connsiteY36" fmla="*/ 622300 h 1123950"/>
                    <a:gd name="connsiteX37" fmla="*/ 265113 w 823913"/>
                    <a:gd name="connsiteY37" fmla="*/ 536575 h 1123950"/>
                    <a:gd name="connsiteX38" fmla="*/ 179388 w 823913"/>
                    <a:gd name="connsiteY38" fmla="*/ 536575 h 1123950"/>
                    <a:gd name="connsiteX39" fmla="*/ 409556 w 823913"/>
                    <a:gd name="connsiteY39" fmla="*/ 517525 h 1123950"/>
                    <a:gd name="connsiteX40" fmla="*/ 669945 w 823913"/>
                    <a:gd name="connsiteY40" fmla="*/ 517525 h 1123950"/>
                    <a:gd name="connsiteX41" fmla="*/ 684213 w 823913"/>
                    <a:gd name="connsiteY41" fmla="*/ 531813 h 1123950"/>
                    <a:gd name="connsiteX42" fmla="*/ 669945 w 823913"/>
                    <a:gd name="connsiteY42" fmla="*/ 546100 h 1123950"/>
                    <a:gd name="connsiteX43" fmla="*/ 409556 w 823913"/>
                    <a:gd name="connsiteY43" fmla="*/ 546100 h 1123950"/>
                    <a:gd name="connsiteX44" fmla="*/ 395288 w 823913"/>
                    <a:gd name="connsiteY44" fmla="*/ 531813 h 1123950"/>
                    <a:gd name="connsiteX45" fmla="*/ 409556 w 823913"/>
                    <a:gd name="connsiteY45" fmla="*/ 517525 h 1123950"/>
                    <a:gd name="connsiteX46" fmla="*/ 163600 w 823913"/>
                    <a:gd name="connsiteY46" fmla="*/ 508000 h 1123950"/>
                    <a:gd name="connsiteX47" fmla="*/ 279314 w 823913"/>
                    <a:gd name="connsiteY47" fmla="*/ 508000 h 1123950"/>
                    <a:gd name="connsiteX48" fmla="*/ 293688 w 823913"/>
                    <a:gd name="connsiteY48" fmla="*/ 522927 h 1123950"/>
                    <a:gd name="connsiteX49" fmla="*/ 293688 w 823913"/>
                    <a:gd name="connsiteY49" fmla="*/ 636659 h 1123950"/>
                    <a:gd name="connsiteX50" fmla="*/ 279314 w 823913"/>
                    <a:gd name="connsiteY50" fmla="*/ 650875 h 1123950"/>
                    <a:gd name="connsiteX51" fmla="*/ 163600 w 823913"/>
                    <a:gd name="connsiteY51" fmla="*/ 650875 h 1123950"/>
                    <a:gd name="connsiteX52" fmla="*/ 149225 w 823913"/>
                    <a:gd name="connsiteY52" fmla="*/ 636659 h 1123950"/>
                    <a:gd name="connsiteX53" fmla="*/ 149225 w 823913"/>
                    <a:gd name="connsiteY53" fmla="*/ 522927 h 1123950"/>
                    <a:gd name="connsiteX54" fmla="*/ 163600 w 823913"/>
                    <a:gd name="connsiteY54" fmla="*/ 508000 h 1123950"/>
                    <a:gd name="connsiteX55" fmla="*/ 409556 w 823913"/>
                    <a:gd name="connsiteY55" fmla="*/ 352425 h 1123950"/>
                    <a:gd name="connsiteX56" fmla="*/ 669945 w 823913"/>
                    <a:gd name="connsiteY56" fmla="*/ 352425 h 1123950"/>
                    <a:gd name="connsiteX57" fmla="*/ 684213 w 823913"/>
                    <a:gd name="connsiteY57" fmla="*/ 366713 h 1123950"/>
                    <a:gd name="connsiteX58" fmla="*/ 669945 w 823913"/>
                    <a:gd name="connsiteY58" fmla="*/ 381000 h 1123950"/>
                    <a:gd name="connsiteX59" fmla="*/ 409556 w 823913"/>
                    <a:gd name="connsiteY59" fmla="*/ 381000 h 1123950"/>
                    <a:gd name="connsiteX60" fmla="*/ 395288 w 823913"/>
                    <a:gd name="connsiteY60" fmla="*/ 366713 h 1123950"/>
                    <a:gd name="connsiteX61" fmla="*/ 409556 w 823913"/>
                    <a:gd name="connsiteY61" fmla="*/ 352425 h 1123950"/>
                    <a:gd name="connsiteX62" fmla="*/ 179388 w 823913"/>
                    <a:gd name="connsiteY62" fmla="*/ 279400 h 1123950"/>
                    <a:gd name="connsiteX63" fmla="*/ 179388 w 823913"/>
                    <a:gd name="connsiteY63" fmla="*/ 365125 h 1123950"/>
                    <a:gd name="connsiteX64" fmla="*/ 265113 w 823913"/>
                    <a:gd name="connsiteY64" fmla="*/ 365125 h 1123950"/>
                    <a:gd name="connsiteX65" fmla="*/ 265113 w 823913"/>
                    <a:gd name="connsiteY65" fmla="*/ 279400 h 1123950"/>
                    <a:gd name="connsiteX66" fmla="*/ 179388 w 823913"/>
                    <a:gd name="connsiteY66" fmla="*/ 279400 h 1123950"/>
                    <a:gd name="connsiteX67" fmla="*/ 409556 w 823913"/>
                    <a:gd name="connsiteY67" fmla="*/ 260350 h 1123950"/>
                    <a:gd name="connsiteX68" fmla="*/ 669945 w 823913"/>
                    <a:gd name="connsiteY68" fmla="*/ 260350 h 1123950"/>
                    <a:gd name="connsiteX69" fmla="*/ 684213 w 823913"/>
                    <a:gd name="connsiteY69" fmla="*/ 274638 h 1123950"/>
                    <a:gd name="connsiteX70" fmla="*/ 669945 w 823913"/>
                    <a:gd name="connsiteY70" fmla="*/ 288925 h 1123950"/>
                    <a:gd name="connsiteX71" fmla="*/ 409556 w 823913"/>
                    <a:gd name="connsiteY71" fmla="*/ 288925 h 1123950"/>
                    <a:gd name="connsiteX72" fmla="*/ 395288 w 823913"/>
                    <a:gd name="connsiteY72" fmla="*/ 274638 h 1123950"/>
                    <a:gd name="connsiteX73" fmla="*/ 409556 w 823913"/>
                    <a:gd name="connsiteY73" fmla="*/ 260350 h 1123950"/>
                    <a:gd name="connsiteX74" fmla="*/ 163600 w 823913"/>
                    <a:gd name="connsiteY74" fmla="*/ 250825 h 1123950"/>
                    <a:gd name="connsiteX75" fmla="*/ 279314 w 823913"/>
                    <a:gd name="connsiteY75" fmla="*/ 250825 h 1123950"/>
                    <a:gd name="connsiteX76" fmla="*/ 293688 w 823913"/>
                    <a:gd name="connsiteY76" fmla="*/ 265184 h 1123950"/>
                    <a:gd name="connsiteX77" fmla="*/ 293688 w 823913"/>
                    <a:gd name="connsiteY77" fmla="*/ 379341 h 1123950"/>
                    <a:gd name="connsiteX78" fmla="*/ 279314 w 823913"/>
                    <a:gd name="connsiteY78" fmla="*/ 393700 h 1123950"/>
                    <a:gd name="connsiteX79" fmla="*/ 163600 w 823913"/>
                    <a:gd name="connsiteY79" fmla="*/ 393700 h 1123950"/>
                    <a:gd name="connsiteX80" fmla="*/ 149225 w 823913"/>
                    <a:gd name="connsiteY80" fmla="*/ 379341 h 1123950"/>
                    <a:gd name="connsiteX81" fmla="*/ 149225 w 823913"/>
                    <a:gd name="connsiteY81" fmla="*/ 265184 h 1123950"/>
                    <a:gd name="connsiteX82" fmla="*/ 163600 w 823913"/>
                    <a:gd name="connsiteY82" fmla="*/ 250825 h 1123950"/>
                    <a:gd name="connsiteX83" fmla="*/ 581025 w 823913"/>
                    <a:gd name="connsiteY83" fmla="*/ 0 h 1123950"/>
                    <a:gd name="connsiteX84" fmla="*/ 809668 w 823913"/>
                    <a:gd name="connsiteY84" fmla="*/ 0 h 1123950"/>
                    <a:gd name="connsiteX85" fmla="*/ 823913 w 823913"/>
                    <a:gd name="connsiteY85" fmla="*/ 14296 h 1123950"/>
                    <a:gd name="connsiteX86" fmla="*/ 823913 w 823913"/>
                    <a:gd name="connsiteY86" fmla="*/ 833438 h 1123950"/>
                    <a:gd name="connsiteX87" fmla="*/ 795422 w 823913"/>
                    <a:gd name="connsiteY87" fmla="*/ 824146 h 1123950"/>
                    <a:gd name="connsiteX88" fmla="*/ 795422 w 823913"/>
                    <a:gd name="connsiteY88" fmla="*/ 28591 h 1123950"/>
                    <a:gd name="connsiteX89" fmla="*/ 581025 w 823913"/>
                    <a:gd name="connsiteY89" fmla="*/ 28591 h 1123950"/>
                    <a:gd name="connsiteX90" fmla="*/ 581025 w 823913"/>
                    <a:gd name="connsiteY90" fmla="*/ 0 h 1123950"/>
                    <a:gd name="connsiteX91" fmla="*/ 14275 w 823913"/>
                    <a:gd name="connsiteY91" fmla="*/ 0 h 1123950"/>
                    <a:gd name="connsiteX92" fmla="*/ 257673 w 823913"/>
                    <a:gd name="connsiteY92" fmla="*/ 0 h 1123950"/>
                    <a:gd name="connsiteX93" fmla="*/ 257673 w 823913"/>
                    <a:gd name="connsiteY93" fmla="*/ 28599 h 1123950"/>
                    <a:gd name="connsiteX94" fmla="*/ 28551 w 823913"/>
                    <a:gd name="connsiteY94" fmla="*/ 28599 h 1123950"/>
                    <a:gd name="connsiteX95" fmla="*/ 28551 w 823913"/>
                    <a:gd name="connsiteY95" fmla="*/ 1095351 h 1123950"/>
                    <a:gd name="connsiteX96" fmla="*/ 553890 w 823913"/>
                    <a:gd name="connsiteY96" fmla="*/ 1095351 h 1123950"/>
                    <a:gd name="connsiteX97" fmla="*/ 566738 w 823913"/>
                    <a:gd name="connsiteY97" fmla="*/ 1123950 h 1123950"/>
                    <a:gd name="connsiteX98" fmla="*/ 14275 w 823913"/>
                    <a:gd name="connsiteY98" fmla="*/ 1123950 h 1123950"/>
                    <a:gd name="connsiteX99" fmla="*/ 0 w 823913"/>
                    <a:gd name="connsiteY99" fmla="*/ 1109651 h 1123950"/>
                    <a:gd name="connsiteX100" fmla="*/ 0 w 823913"/>
                    <a:gd name="connsiteY100" fmla="*/ 14299 h 1123950"/>
                    <a:gd name="connsiteX101" fmla="*/ 14275 w 823913"/>
                    <a:gd name="connsiteY101" fmla="*/ 0 h 112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823913" h="1123950">
                      <a:moveTo>
                        <a:pt x="409607" y="866775"/>
                      </a:moveTo>
                      <a:cubicBezTo>
                        <a:pt x="514133" y="866775"/>
                        <a:pt x="577135" y="866775"/>
                        <a:pt x="614363" y="866775"/>
                      </a:cubicBezTo>
                      <a:cubicBezTo>
                        <a:pt x="604340" y="875567"/>
                        <a:pt x="595749" y="885092"/>
                        <a:pt x="587158" y="895350"/>
                      </a:cubicBezTo>
                      <a:cubicBezTo>
                        <a:pt x="409607" y="895350"/>
                        <a:pt x="409607" y="895350"/>
                        <a:pt x="409607" y="895350"/>
                      </a:cubicBezTo>
                      <a:cubicBezTo>
                        <a:pt x="401732" y="895350"/>
                        <a:pt x="395288" y="888756"/>
                        <a:pt x="395288" y="880696"/>
                      </a:cubicBezTo>
                      <a:cubicBezTo>
                        <a:pt x="395288" y="873369"/>
                        <a:pt x="401732" y="866775"/>
                        <a:pt x="409607" y="866775"/>
                      </a:cubicBezTo>
                      <a:close/>
                      <a:moveTo>
                        <a:pt x="179388" y="787400"/>
                      </a:moveTo>
                      <a:cubicBezTo>
                        <a:pt x="179388" y="873125"/>
                        <a:pt x="179388" y="873125"/>
                        <a:pt x="179388" y="873125"/>
                      </a:cubicBezTo>
                      <a:cubicBezTo>
                        <a:pt x="265113" y="873125"/>
                        <a:pt x="265113" y="873125"/>
                        <a:pt x="265113" y="873125"/>
                      </a:cubicBezTo>
                      <a:cubicBezTo>
                        <a:pt x="265113" y="787400"/>
                        <a:pt x="265113" y="787400"/>
                        <a:pt x="265113" y="787400"/>
                      </a:cubicBezTo>
                      <a:cubicBezTo>
                        <a:pt x="179388" y="787400"/>
                        <a:pt x="179388" y="787400"/>
                        <a:pt x="179388" y="787400"/>
                      </a:cubicBezTo>
                      <a:close/>
                      <a:moveTo>
                        <a:pt x="409556" y="774700"/>
                      </a:moveTo>
                      <a:cubicBezTo>
                        <a:pt x="669945" y="774700"/>
                        <a:pt x="669945" y="774700"/>
                        <a:pt x="669945" y="774700"/>
                      </a:cubicBezTo>
                      <a:cubicBezTo>
                        <a:pt x="677793" y="774700"/>
                        <a:pt x="684213" y="780586"/>
                        <a:pt x="684213" y="789414"/>
                      </a:cubicBezTo>
                      <a:cubicBezTo>
                        <a:pt x="684213" y="798242"/>
                        <a:pt x="677793" y="804863"/>
                        <a:pt x="669945" y="804863"/>
                      </a:cubicBezTo>
                      <a:cubicBezTo>
                        <a:pt x="409556" y="804863"/>
                        <a:pt x="409556" y="804863"/>
                        <a:pt x="409556" y="804863"/>
                      </a:cubicBezTo>
                      <a:cubicBezTo>
                        <a:pt x="401709" y="804863"/>
                        <a:pt x="395288" y="798242"/>
                        <a:pt x="395288" y="789414"/>
                      </a:cubicBezTo>
                      <a:cubicBezTo>
                        <a:pt x="395288" y="780586"/>
                        <a:pt x="401709" y="774700"/>
                        <a:pt x="409556" y="774700"/>
                      </a:cubicBezTo>
                      <a:close/>
                      <a:moveTo>
                        <a:pt x="163600" y="758825"/>
                      </a:moveTo>
                      <a:cubicBezTo>
                        <a:pt x="279314" y="758825"/>
                        <a:pt x="279314" y="758825"/>
                        <a:pt x="279314" y="758825"/>
                      </a:cubicBezTo>
                      <a:cubicBezTo>
                        <a:pt x="287220" y="758825"/>
                        <a:pt x="293688" y="765255"/>
                        <a:pt x="293688" y="773113"/>
                      </a:cubicBezTo>
                      <a:cubicBezTo>
                        <a:pt x="293688" y="887413"/>
                        <a:pt x="293688" y="887413"/>
                        <a:pt x="293688" y="887413"/>
                      </a:cubicBezTo>
                      <a:cubicBezTo>
                        <a:pt x="293688" y="895271"/>
                        <a:pt x="287220" y="901700"/>
                        <a:pt x="279314" y="901700"/>
                      </a:cubicBezTo>
                      <a:cubicBezTo>
                        <a:pt x="163600" y="901700"/>
                        <a:pt x="163600" y="901700"/>
                        <a:pt x="163600" y="901700"/>
                      </a:cubicBezTo>
                      <a:cubicBezTo>
                        <a:pt x="155694" y="901700"/>
                        <a:pt x="149225" y="895271"/>
                        <a:pt x="149225" y="887413"/>
                      </a:cubicBezTo>
                      <a:cubicBezTo>
                        <a:pt x="149225" y="773113"/>
                        <a:pt x="149225" y="773113"/>
                        <a:pt x="149225" y="773113"/>
                      </a:cubicBezTo>
                      <a:cubicBezTo>
                        <a:pt x="149225" y="765255"/>
                        <a:pt x="155694" y="758825"/>
                        <a:pt x="163600" y="758825"/>
                      </a:cubicBezTo>
                      <a:close/>
                      <a:moveTo>
                        <a:pt x="409556" y="608012"/>
                      </a:moveTo>
                      <a:cubicBezTo>
                        <a:pt x="669945" y="608012"/>
                        <a:pt x="669945" y="608012"/>
                        <a:pt x="669945" y="608012"/>
                      </a:cubicBezTo>
                      <a:cubicBezTo>
                        <a:pt x="677793" y="608012"/>
                        <a:pt x="684213" y="614476"/>
                        <a:pt x="684213" y="623094"/>
                      </a:cubicBezTo>
                      <a:cubicBezTo>
                        <a:pt x="684213" y="631712"/>
                        <a:pt x="677793" y="638175"/>
                        <a:pt x="669945" y="638175"/>
                      </a:cubicBezTo>
                      <a:cubicBezTo>
                        <a:pt x="409556" y="638175"/>
                        <a:pt x="409556" y="638175"/>
                        <a:pt x="409556" y="638175"/>
                      </a:cubicBezTo>
                      <a:cubicBezTo>
                        <a:pt x="401709" y="638175"/>
                        <a:pt x="395288" y="631712"/>
                        <a:pt x="395288" y="623094"/>
                      </a:cubicBezTo>
                      <a:cubicBezTo>
                        <a:pt x="395288" y="614476"/>
                        <a:pt x="401709" y="608012"/>
                        <a:pt x="409556" y="608012"/>
                      </a:cubicBezTo>
                      <a:close/>
                      <a:moveTo>
                        <a:pt x="179388" y="536575"/>
                      </a:moveTo>
                      <a:cubicBezTo>
                        <a:pt x="179388" y="622300"/>
                        <a:pt x="179388" y="622300"/>
                        <a:pt x="179388" y="622300"/>
                      </a:cubicBezTo>
                      <a:cubicBezTo>
                        <a:pt x="265113" y="622300"/>
                        <a:pt x="265113" y="622300"/>
                        <a:pt x="265113" y="622300"/>
                      </a:cubicBezTo>
                      <a:cubicBezTo>
                        <a:pt x="265113" y="536575"/>
                        <a:pt x="265113" y="536575"/>
                        <a:pt x="265113" y="536575"/>
                      </a:cubicBezTo>
                      <a:cubicBezTo>
                        <a:pt x="179388" y="536575"/>
                        <a:pt x="179388" y="536575"/>
                        <a:pt x="179388" y="536575"/>
                      </a:cubicBezTo>
                      <a:close/>
                      <a:moveTo>
                        <a:pt x="409556" y="517525"/>
                      </a:moveTo>
                      <a:cubicBezTo>
                        <a:pt x="669945" y="517525"/>
                        <a:pt x="669945" y="517525"/>
                        <a:pt x="669945" y="517525"/>
                      </a:cubicBezTo>
                      <a:cubicBezTo>
                        <a:pt x="677793" y="517525"/>
                        <a:pt x="684213" y="523955"/>
                        <a:pt x="684213" y="531813"/>
                      </a:cubicBezTo>
                      <a:cubicBezTo>
                        <a:pt x="684213" y="539671"/>
                        <a:pt x="677793" y="546100"/>
                        <a:pt x="669945" y="546100"/>
                      </a:cubicBezTo>
                      <a:cubicBezTo>
                        <a:pt x="409556" y="546100"/>
                        <a:pt x="409556" y="546100"/>
                        <a:pt x="409556" y="546100"/>
                      </a:cubicBezTo>
                      <a:cubicBezTo>
                        <a:pt x="401709" y="546100"/>
                        <a:pt x="395288" y="539671"/>
                        <a:pt x="395288" y="531813"/>
                      </a:cubicBezTo>
                      <a:cubicBezTo>
                        <a:pt x="395288" y="523955"/>
                        <a:pt x="401709" y="517525"/>
                        <a:pt x="409556" y="517525"/>
                      </a:cubicBezTo>
                      <a:close/>
                      <a:moveTo>
                        <a:pt x="163600" y="508000"/>
                      </a:moveTo>
                      <a:cubicBezTo>
                        <a:pt x="279314" y="508000"/>
                        <a:pt x="279314" y="508000"/>
                        <a:pt x="279314" y="508000"/>
                      </a:cubicBezTo>
                      <a:cubicBezTo>
                        <a:pt x="287220" y="508000"/>
                        <a:pt x="293688" y="515108"/>
                        <a:pt x="293688" y="522927"/>
                      </a:cubicBezTo>
                      <a:cubicBezTo>
                        <a:pt x="293688" y="636659"/>
                        <a:pt x="293688" y="636659"/>
                        <a:pt x="293688" y="636659"/>
                      </a:cubicBezTo>
                      <a:cubicBezTo>
                        <a:pt x="293688" y="644478"/>
                        <a:pt x="287220" y="650875"/>
                        <a:pt x="279314" y="650875"/>
                      </a:cubicBezTo>
                      <a:cubicBezTo>
                        <a:pt x="163600" y="650875"/>
                        <a:pt x="163600" y="650875"/>
                        <a:pt x="163600" y="650875"/>
                      </a:cubicBezTo>
                      <a:cubicBezTo>
                        <a:pt x="155694" y="650875"/>
                        <a:pt x="149225" y="644478"/>
                        <a:pt x="149225" y="636659"/>
                      </a:cubicBezTo>
                      <a:cubicBezTo>
                        <a:pt x="149225" y="522927"/>
                        <a:pt x="149225" y="522927"/>
                        <a:pt x="149225" y="522927"/>
                      </a:cubicBezTo>
                      <a:cubicBezTo>
                        <a:pt x="149225" y="515108"/>
                        <a:pt x="155694" y="508000"/>
                        <a:pt x="163600" y="508000"/>
                      </a:cubicBezTo>
                      <a:close/>
                      <a:moveTo>
                        <a:pt x="409556" y="352425"/>
                      </a:moveTo>
                      <a:cubicBezTo>
                        <a:pt x="669945" y="352425"/>
                        <a:pt x="669945" y="352425"/>
                        <a:pt x="669945" y="352425"/>
                      </a:cubicBezTo>
                      <a:cubicBezTo>
                        <a:pt x="677793" y="352425"/>
                        <a:pt x="684213" y="358855"/>
                        <a:pt x="684213" y="366713"/>
                      </a:cubicBezTo>
                      <a:cubicBezTo>
                        <a:pt x="684213" y="374571"/>
                        <a:pt x="677793" y="381000"/>
                        <a:pt x="669945" y="381000"/>
                      </a:cubicBezTo>
                      <a:cubicBezTo>
                        <a:pt x="409556" y="381000"/>
                        <a:pt x="409556" y="381000"/>
                        <a:pt x="409556" y="381000"/>
                      </a:cubicBezTo>
                      <a:cubicBezTo>
                        <a:pt x="401709" y="381000"/>
                        <a:pt x="395288" y="374571"/>
                        <a:pt x="395288" y="366713"/>
                      </a:cubicBezTo>
                      <a:cubicBezTo>
                        <a:pt x="395288" y="358855"/>
                        <a:pt x="401709" y="352425"/>
                        <a:pt x="409556" y="352425"/>
                      </a:cubicBezTo>
                      <a:close/>
                      <a:moveTo>
                        <a:pt x="179388" y="279400"/>
                      </a:moveTo>
                      <a:cubicBezTo>
                        <a:pt x="179388" y="365125"/>
                        <a:pt x="179388" y="365125"/>
                        <a:pt x="179388" y="365125"/>
                      </a:cubicBezTo>
                      <a:cubicBezTo>
                        <a:pt x="265113" y="365125"/>
                        <a:pt x="265113" y="365125"/>
                        <a:pt x="265113" y="365125"/>
                      </a:cubicBezTo>
                      <a:cubicBezTo>
                        <a:pt x="265113" y="279400"/>
                        <a:pt x="265113" y="279400"/>
                        <a:pt x="265113" y="279400"/>
                      </a:cubicBezTo>
                      <a:cubicBezTo>
                        <a:pt x="179388" y="279400"/>
                        <a:pt x="179388" y="279400"/>
                        <a:pt x="179388" y="279400"/>
                      </a:cubicBezTo>
                      <a:close/>
                      <a:moveTo>
                        <a:pt x="409556" y="260350"/>
                      </a:moveTo>
                      <a:cubicBezTo>
                        <a:pt x="669945" y="260350"/>
                        <a:pt x="669945" y="260350"/>
                        <a:pt x="669945" y="260350"/>
                      </a:cubicBezTo>
                      <a:cubicBezTo>
                        <a:pt x="677793" y="260350"/>
                        <a:pt x="684213" y="266780"/>
                        <a:pt x="684213" y="274638"/>
                      </a:cubicBezTo>
                      <a:cubicBezTo>
                        <a:pt x="684213" y="283210"/>
                        <a:pt x="677793" y="288925"/>
                        <a:pt x="669945" y="288925"/>
                      </a:cubicBezTo>
                      <a:cubicBezTo>
                        <a:pt x="409556" y="288925"/>
                        <a:pt x="409556" y="288925"/>
                        <a:pt x="409556" y="288925"/>
                      </a:cubicBezTo>
                      <a:cubicBezTo>
                        <a:pt x="401709" y="288925"/>
                        <a:pt x="395288" y="283210"/>
                        <a:pt x="395288" y="274638"/>
                      </a:cubicBezTo>
                      <a:cubicBezTo>
                        <a:pt x="395288" y="266780"/>
                        <a:pt x="401709" y="260350"/>
                        <a:pt x="409556" y="260350"/>
                      </a:cubicBezTo>
                      <a:close/>
                      <a:moveTo>
                        <a:pt x="163600" y="250825"/>
                      </a:moveTo>
                      <a:cubicBezTo>
                        <a:pt x="279314" y="250825"/>
                        <a:pt x="279314" y="250825"/>
                        <a:pt x="279314" y="250825"/>
                      </a:cubicBezTo>
                      <a:cubicBezTo>
                        <a:pt x="287220" y="250825"/>
                        <a:pt x="293688" y="257287"/>
                        <a:pt x="293688" y="265184"/>
                      </a:cubicBezTo>
                      <a:cubicBezTo>
                        <a:pt x="293688" y="379341"/>
                        <a:pt x="293688" y="379341"/>
                        <a:pt x="293688" y="379341"/>
                      </a:cubicBezTo>
                      <a:cubicBezTo>
                        <a:pt x="293688" y="387238"/>
                        <a:pt x="287220" y="393700"/>
                        <a:pt x="279314" y="393700"/>
                      </a:cubicBezTo>
                      <a:cubicBezTo>
                        <a:pt x="163600" y="393700"/>
                        <a:pt x="163600" y="393700"/>
                        <a:pt x="163600" y="393700"/>
                      </a:cubicBezTo>
                      <a:cubicBezTo>
                        <a:pt x="155694" y="393700"/>
                        <a:pt x="149225" y="387238"/>
                        <a:pt x="149225" y="379341"/>
                      </a:cubicBezTo>
                      <a:cubicBezTo>
                        <a:pt x="149225" y="265184"/>
                        <a:pt x="149225" y="265184"/>
                        <a:pt x="149225" y="265184"/>
                      </a:cubicBezTo>
                      <a:cubicBezTo>
                        <a:pt x="149225" y="257287"/>
                        <a:pt x="155694" y="250825"/>
                        <a:pt x="163600" y="250825"/>
                      </a:cubicBezTo>
                      <a:close/>
                      <a:moveTo>
                        <a:pt x="581025" y="0"/>
                      </a:moveTo>
                      <a:cubicBezTo>
                        <a:pt x="581025" y="0"/>
                        <a:pt x="581025" y="0"/>
                        <a:pt x="809668" y="0"/>
                      </a:cubicBezTo>
                      <a:cubicBezTo>
                        <a:pt x="817503" y="0"/>
                        <a:pt x="823913" y="6433"/>
                        <a:pt x="823913" y="14296"/>
                      </a:cubicBezTo>
                      <a:cubicBezTo>
                        <a:pt x="823913" y="14296"/>
                        <a:pt x="823913" y="14296"/>
                        <a:pt x="823913" y="833438"/>
                      </a:cubicBezTo>
                      <a:cubicBezTo>
                        <a:pt x="814654" y="829864"/>
                        <a:pt x="805394" y="827005"/>
                        <a:pt x="795422" y="824146"/>
                      </a:cubicBezTo>
                      <a:cubicBezTo>
                        <a:pt x="795422" y="808421"/>
                        <a:pt x="795422" y="704777"/>
                        <a:pt x="795422" y="28591"/>
                      </a:cubicBezTo>
                      <a:cubicBezTo>
                        <a:pt x="795422" y="28591"/>
                        <a:pt x="795422" y="28591"/>
                        <a:pt x="581025" y="28591"/>
                      </a:cubicBezTo>
                      <a:cubicBezTo>
                        <a:pt x="581025" y="28591"/>
                        <a:pt x="581025" y="28591"/>
                        <a:pt x="581025" y="0"/>
                      </a:cubicBezTo>
                      <a:close/>
                      <a:moveTo>
                        <a:pt x="14275" y="0"/>
                      </a:moveTo>
                      <a:cubicBezTo>
                        <a:pt x="14275" y="0"/>
                        <a:pt x="14275" y="0"/>
                        <a:pt x="257673" y="0"/>
                      </a:cubicBezTo>
                      <a:cubicBezTo>
                        <a:pt x="257673" y="0"/>
                        <a:pt x="257673" y="0"/>
                        <a:pt x="257673" y="28599"/>
                      </a:cubicBezTo>
                      <a:cubicBezTo>
                        <a:pt x="257673" y="28599"/>
                        <a:pt x="257673" y="28599"/>
                        <a:pt x="28551" y="28599"/>
                      </a:cubicBezTo>
                      <a:cubicBezTo>
                        <a:pt x="28551" y="28599"/>
                        <a:pt x="28551" y="28599"/>
                        <a:pt x="28551" y="1095351"/>
                      </a:cubicBezTo>
                      <a:cubicBezTo>
                        <a:pt x="28551" y="1095351"/>
                        <a:pt x="28551" y="1095351"/>
                        <a:pt x="553890" y="1095351"/>
                      </a:cubicBezTo>
                      <a:cubicBezTo>
                        <a:pt x="557459" y="1105361"/>
                        <a:pt x="561742" y="1115370"/>
                        <a:pt x="566738" y="1123950"/>
                      </a:cubicBezTo>
                      <a:cubicBezTo>
                        <a:pt x="551035" y="1123950"/>
                        <a:pt x="466810" y="1123950"/>
                        <a:pt x="14275" y="1123950"/>
                      </a:cubicBezTo>
                      <a:cubicBezTo>
                        <a:pt x="6424" y="1123950"/>
                        <a:pt x="0" y="1117515"/>
                        <a:pt x="0" y="1109651"/>
                      </a:cubicBezTo>
                      <a:cubicBezTo>
                        <a:pt x="0" y="1109651"/>
                        <a:pt x="0" y="1109651"/>
                        <a:pt x="0" y="14299"/>
                      </a:cubicBezTo>
                      <a:cubicBezTo>
                        <a:pt x="0" y="6435"/>
                        <a:pt x="6424" y="0"/>
                        <a:pt x="1427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5" name="Freeform 94"/>
                <p:cNvSpPr>
                  <a:spLocks/>
                </p:cNvSpPr>
                <p:nvPr/>
              </p:nvSpPr>
              <p:spPr bwMode="auto">
                <a:xfrm>
                  <a:off x="5922963" y="2774950"/>
                  <a:ext cx="633413" cy="1306513"/>
                </a:xfrm>
                <a:custGeom>
                  <a:avLst/>
                  <a:gdLst>
                    <a:gd name="connsiteX0" fmla="*/ 380848 w 633413"/>
                    <a:gd name="connsiteY0" fmla="*/ 1036484 h 1306513"/>
                    <a:gd name="connsiteX1" fmla="*/ 371557 w 633413"/>
                    <a:gd name="connsiteY1" fmla="*/ 1040067 h 1306513"/>
                    <a:gd name="connsiteX2" fmla="*/ 371557 w 633413"/>
                    <a:gd name="connsiteY2" fmla="*/ 1060136 h 1306513"/>
                    <a:gd name="connsiteX3" fmla="*/ 442309 w 633413"/>
                    <a:gd name="connsiteY3" fmla="*/ 1131811 h 1306513"/>
                    <a:gd name="connsiteX4" fmla="*/ 371557 w 633413"/>
                    <a:gd name="connsiteY4" fmla="*/ 1202769 h 1306513"/>
                    <a:gd name="connsiteX5" fmla="*/ 371557 w 633413"/>
                    <a:gd name="connsiteY5" fmla="*/ 1222838 h 1306513"/>
                    <a:gd name="connsiteX6" fmla="*/ 380848 w 633413"/>
                    <a:gd name="connsiteY6" fmla="*/ 1227138 h 1306513"/>
                    <a:gd name="connsiteX7" fmla="*/ 391568 w 633413"/>
                    <a:gd name="connsiteY7" fmla="*/ 1222838 h 1306513"/>
                    <a:gd name="connsiteX8" fmla="*/ 462320 w 633413"/>
                    <a:gd name="connsiteY8" fmla="*/ 1151880 h 1306513"/>
                    <a:gd name="connsiteX9" fmla="*/ 533072 w 633413"/>
                    <a:gd name="connsiteY9" fmla="*/ 1222838 h 1306513"/>
                    <a:gd name="connsiteX10" fmla="*/ 542363 w 633413"/>
                    <a:gd name="connsiteY10" fmla="*/ 1227138 h 1306513"/>
                    <a:gd name="connsiteX11" fmla="*/ 553083 w 633413"/>
                    <a:gd name="connsiteY11" fmla="*/ 1222838 h 1306513"/>
                    <a:gd name="connsiteX12" fmla="*/ 553083 w 633413"/>
                    <a:gd name="connsiteY12" fmla="*/ 1202769 h 1306513"/>
                    <a:gd name="connsiteX13" fmla="*/ 483045 w 633413"/>
                    <a:gd name="connsiteY13" fmla="*/ 1131811 h 1306513"/>
                    <a:gd name="connsiteX14" fmla="*/ 553083 w 633413"/>
                    <a:gd name="connsiteY14" fmla="*/ 1060136 h 1306513"/>
                    <a:gd name="connsiteX15" fmla="*/ 553083 w 633413"/>
                    <a:gd name="connsiteY15" fmla="*/ 1040067 h 1306513"/>
                    <a:gd name="connsiteX16" fmla="*/ 533072 w 633413"/>
                    <a:gd name="connsiteY16" fmla="*/ 1040067 h 1306513"/>
                    <a:gd name="connsiteX17" fmla="*/ 462320 w 633413"/>
                    <a:gd name="connsiteY17" fmla="*/ 1111742 h 1306513"/>
                    <a:gd name="connsiteX18" fmla="*/ 391568 w 633413"/>
                    <a:gd name="connsiteY18" fmla="*/ 1040067 h 1306513"/>
                    <a:gd name="connsiteX19" fmla="*/ 380848 w 633413"/>
                    <a:gd name="connsiteY19" fmla="*/ 1036484 h 1306513"/>
                    <a:gd name="connsiteX20" fmla="*/ 459937 w 633413"/>
                    <a:gd name="connsiteY20" fmla="*/ 955675 h 1306513"/>
                    <a:gd name="connsiteX21" fmla="*/ 633413 w 633413"/>
                    <a:gd name="connsiteY21" fmla="*/ 1131094 h 1306513"/>
                    <a:gd name="connsiteX22" fmla="*/ 459937 w 633413"/>
                    <a:gd name="connsiteY22" fmla="*/ 1306513 h 1306513"/>
                    <a:gd name="connsiteX23" fmla="*/ 285750 w 633413"/>
                    <a:gd name="connsiteY23" fmla="*/ 1131094 h 1306513"/>
                    <a:gd name="connsiteX24" fmla="*/ 342628 w 633413"/>
                    <a:gd name="connsiteY24" fmla="*/ 1000783 h 1306513"/>
                    <a:gd name="connsiteX25" fmla="*/ 383864 w 633413"/>
                    <a:gd name="connsiteY25" fmla="*/ 972859 h 1306513"/>
                    <a:gd name="connsiteX26" fmla="*/ 459937 w 633413"/>
                    <a:gd name="connsiteY26" fmla="*/ 955675 h 1306513"/>
                    <a:gd name="connsiteX27" fmla="*/ 132556 w 633413"/>
                    <a:gd name="connsiteY27" fmla="*/ 28575 h 1306513"/>
                    <a:gd name="connsiteX28" fmla="*/ 84137 w 633413"/>
                    <a:gd name="connsiteY28" fmla="*/ 60325 h 1306513"/>
                    <a:gd name="connsiteX29" fmla="*/ 180975 w 633413"/>
                    <a:gd name="connsiteY29" fmla="*/ 60325 h 1306513"/>
                    <a:gd name="connsiteX30" fmla="*/ 132556 w 633413"/>
                    <a:gd name="connsiteY30" fmla="*/ 28575 h 1306513"/>
                    <a:gd name="connsiteX31" fmla="*/ 132557 w 633413"/>
                    <a:gd name="connsiteY31" fmla="*/ 0 h 1306513"/>
                    <a:gd name="connsiteX32" fmla="*/ 210950 w 633413"/>
                    <a:gd name="connsiteY32" fmla="*/ 59506 h 1306513"/>
                    <a:gd name="connsiteX33" fmla="*/ 250860 w 633413"/>
                    <a:gd name="connsiteY33" fmla="*/ 59506 h 1306513"/>
                    <a:gd name="connsiteX34" fmla="*/ 265113 w 633413"/>
                    <a:gd name="connsiteY34" fmla="*/ 73844 h 1306513"/>
                    <a:gd name="connsiteX35" fmla="*/ 265113 w 633413"/>
                    <a:gd name="connsiteY35" fmla="*/ 163461 h 1306513"/>
                    <a:gd name="connsiteX36" fmla="*/ 250860 w 633413"/>
                    <a:gd name="connsiteY36" fmla="*/ 177800 h 1306513"/>
                    <a:gd name="connsiteX37" fmla="*/ 14254 w 633413"/>
                    <a:gd name="connsiteY37" fmla="*/ 177800 h 1306513"/>
                    <a:gd name="connsiteX38" fmla="*/ 0 w 633413"/>
                    <a:gd name="connsiteY38" fmla="*/ 163461 h 1306513"/>
                    <a:gd name="connsiteX39" fmla="*/ 0 w 633413"/>
                    <a:gd name="connsiteY39" fmla="*/ 73844 h 1306513"/>
                    <a:gd name="connsiteX40" fmla="*/ 14254 w 633413"/>
                    <a:gd name="connsiteY40" fmla="*/ 59506 h 1306513"/>
                    <a:gd name="connsiteX41" fmla="*/ 54876 w 633413"/>
                    <a:gd name="connsiteY41" fmla="*/ 59506 h 1306513"/>
                    <a:gd name="connsiteX42" fmla="*/ 132557 w 633413"/>
                    <a:gd name="connsiteY42" fmla="*/ 0 h 130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33413" h="1306513">
                      <a:moveTo>
                        <a:pt x="380848" y="1036484"/>
                      </a:moveTo>
                      <a:cubicBezTo>
                        <a:pt x="377275" y="1036484"/>
                        <a:pt x="373701" y="1037200"/>
                        <a:pt x="371557" y="1040067"/>
                      </a:cubicBezTo>
                      <a:cubicBezTo>
                        <a:pt x="365125" y="1045801"/>
                        <a:pt x="365125" y="1055119"/>
                        <a:pt x="371557" y="1060136"/>
                      </a:cubicBezTo>
                      <a:cubicBezTo>
                        <a:pt x="371557" y="1060136"/>
                        <a:pt x="371557" y="1060136"/>
                        <a:pt x="442309" y="1131811"/>
                      </a:cubicBezTo>
                      <a:cubicBezTo>
                        <a:pt x="442309" y="1131811"/>
                        <a:pt x="442309" y="1131811"/>
                        <a:pt x="371557" y="1202769"/>
                      </a:cubicBezTo>
                      <a:cubicBezTo>
                        <a:pt x="365125" y="1208503"/>
                        <a:pt x="365125" y="1217820"/>
                        <a:pt x="371557" y="1222838"/>
                      </a:cubicBezTo>
                      <a:cubicBezTo>
                        <a:pt x="373701" y="1225705"/>
                        <a:pt x="377989" y="1227138"/>
                        <a:pt x="380848" y="1227138"/>
                      </a:cubicBezTo>
                      <a:cubicBezTo>
                        <a:pt x="385136" y="1227138"/>
                        <a:pt x="388709" y="1225705"/>
                        <a:pt x="391568" y="1222838"/>
                      </a:cubicBezTo>
                      <a:cubicBezTo>
                        <a:pt x="391568" y="1222838"/>
                        <a:pt x="391568" y="1222838"/>
                        <a:pt x="462320" y="1151880"/>
                      </a:cubicBezTo>
                      <a:cubicBezTo>
                        <a:pt x="462320" y="1151880"/>
                        <a:pt x="462320" y="1151880"/>
                        <a:pt x="533072" y="1222838"/>
                      </a:cubicBezTo>
                      <a:cubicBezTo>
                        <a:pt x="535216" y="1225705"/>
                        <a:pt x="539504" y="1227138"/>
                        <a:pt x="542363" y="1227138"/>
                      </a:cubicBezTo>
                      <a:cubicBezTo>
                        <a:pt x="546651" y="1227138"/>
                        <a:pt x="550224" y="1225705"/>
                        <a:pt x="553083" y="1222838"/>
                      </a:cubicBezTo>
                      <a:cubicBezTo>
                        <a:pt x="558800" y="1217820"/>
                        <a:pt x="558800" y="1208503"/>
                        <a:pt x="553083" y="1202769"/>
                      </a:cubicBezTo>
                      <a:cubicBezTo>
                        <a:pt x="553083" y="1202769"/>
                        <a:pt x="553083" y="1202769"/>
                        <a:pt x="483045" y="1131811"/>
                      </a:cubicBezTo>
                      <a:cubicBezTo>
                        <a:pt x="483045" y="1131811"/>
                        <a:pt x="483045" y="1131811"/>
                        <a:pt x="553083" y="1060136"/>
                      </a:cubicBezTo>
                      <a:cubicBezTo>
                        <a:pt x="558800" y="1055119"/>
                        <a:pt x="558800" y="1045801"/>
                        <a:pt x="553083" y="1040067"/>
                      </a:cubicBezTo>
                      <a:cubicBezTo>
                        <a:pt x="546651" y="1035050"/>
                        <a:pt x="538075" y="1035050"/>
                        <a:pt x="533072" y="1040067"/>
                      </a:cubicBezTo>
                      <a:cubicBezTo>
                        <a:pt x="533072" y="1040067"/>
                        <a:pt x="533072" y="1040067"/>
                        <a:pt x="462320" y="1111742"/>
                      </a:cubicBezTo>
                      <a:cubicBezTo>
                        <a:pt x="462320" y="1111742"/>
                        <a:pt x="462320" y="1111742"/>
                        <a:pt x="391568" y="1040067"/>
                      </a:cubicBezTo>
                      <a:cubicBezTo>
                        <a:pt x="388709" y="1037200"/>
                        <a:pt x="384421" y="1036484"/>
                        <a:pt x="380848" y="1036484"/>
                      </a:cubicBezTo>
                      <a:close/>
                      <a:moveTo>
                        <a:pt x="459937" y="955675"/>
                      </a:moveTo>
                      <a:cubicBezTo>
                        <a:pt x="555918" y="955675"/>
                        <a:pt x="633413" y="1034435"/>
                        <a:pt x="633413" y="1131094"/>
                      </a:cubicBezTo>
                      <a:cubicBezTo>
                        <a:pt x="633413" y="1227754"/>
                        <a:pt x="555918" y="1306513"/>
                        <a:pt x="459937" y="1306513"/>
                      </a:cubicBezTo>
                      <a:cubicBezTo>
                        <a:pt x="363246" y="1306513"/>
                        <a:pt x="285750" y="1227754"/>
                        <a:pt x="285750" y="1131094"/>
                      </a:cubicBezTo>
                      <a:cubicBezTo>
                        <a:pt x="285750" y="1079542"/>
                        <a:pt x="307790" y="1033003"/>
                        <a:pt x="342628" y="1000783"/>
                      </a:cubicBezTo>
                      <a:cubicBezTo>
                        <a:pt x="355425" y="990043"/>
                        <a:pt x="368933" y="980735"/>
                        <a:pt x="383864" y="972859"/>
                      </a:cubicBezTo>
                      <a:cubicBezTo>
                        <a:pt x="406615" y="962119"/>
                        <a:pt x="432210" y="955675"/>
                        <a:pt x="459937" y="955675"/>
                      </a:cubicBezTo>
                      <a:close/>
                      <a:moveTo>
                        <a:pt x="132556" y="28575"/>
                      </a:moveTo>
                      <a:cubicBezTo>
                        <a:pt x="111599" y="28575"/>
                        <a:pt x="92809" y="41127"/>
                        <a:pt x="84137" y="60325"/>
                      </a:cubicBezTo>
                      <a:cubicBezTo>
                        <a:pt x="84137" y="60325"/>
                        <a:pt x="84137" y="60325"/>
                        <a:pt x="180975" y="60325"/>
                      </a:cubicBezTo>
                      <a:cubicBezTo>
                        <a:pt x="173026" y="41127"/>
                        <a:pt x="154236" y="28575"/>
                        <a:pt x="132556" y="28575"/>
                      </a:cubicBezTo>
                      <a:close/>
                      <a:moveTo>
                        <a:pt x="132557" y="0"/>
                      </a:moveTo>
                      <a:cubicBezTo>
                        <a:pt x="169616" y="0"/>
                        <a:pt x="200973" y="25093"/>
                        <a:pt x="210950" y="59506"/>
                      </a:cubicBezTo>
                      <a:cubicBezTo>
                        <a:pt x="210950" y="59506"/>
                        <a:pt x="210950" y="59506"/>
                        <a:pt x="250860" y="59506"/>
                      </a:cubicBezTo>
                      <a:cubicBezTo>
                        <a:pt x="258699" y="59506"/>
                        <a:pt x="265113" y="65958"/>
                        <a:pt x="265113" y="73844"/>
                      </a:cubicBezTo>
                      <a:cubicBezTo>
                        <a:pt x="265113" y="73844"/>
                        <a:pt x="265113" y="73844"/>
                        <a:pt x="265113" y="163461"/>
                      </a:cubicBezTo>
                      <a:cubicBezTo>
                        <a:pt x="265113" y="171348"/>
                        <a:pt x="258699" y="177800"/>
                        <a:pt x="250860" y="177800"/>
                      </a:cubicBezTo>
                      <a:cubicBezTo>
                        <a:pt x="250860" y="177800"/>
                        <a:pt x="250860" y="177800"/>
                        <a:pt x="14254" y="177800"/>
                      </a:cubicBezTo>
                      <a:cubicBezTo>
                        <a:pt x="6414" y="177800"/>
                        <a:pt x="0" y="171348"/>
                        <a:pt x="0" y="163461"/>
                      </a:cubicBezTo>
                      <a:cubicBezTo>
                        <a:pt x="0" y="163461"/>
                        <a:pt x="0" y="163461"/>
                        <a:pt x="0" y="73844"/>
                      </a:cubicBezTo>
                      <a:cubicBezTo>
                        <a:pt x="0" y="65958"/>
                        <a:pt x="6414" y="59506"/>
                        <a:pt x="14254" y="59506"/>
                      </a:cubicBezTo>
                      <a:cubicBezTo>
                        <a:pt x="14254" y="59506"/>
                        <a:pt x="14254" y="59506"/>
                        <a:pt x="54876" y="59506"/>
                      </a:cubicBezTo>
                      <a:cubicBezTo>
                        <a:pt x="64853" y="25093"/>
                        <a:pt x="96211" y="0"/>
                        <a:pt x="13255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96" name="Group 95"/>
            <p:cNvGrpSpPr>
              <a:grpSpLocks noChangeAspect="1"/>
            </p:cNvGrpSpPr>
            <p:nvPr/>
          </p:nvGrpSpPr>
          <p:grpSpPr>
            <a:xfrm>
              <a:off x="3476631" y="5909506"/>
              <a:ext cx="207583" cy="207784"/>
              <a:chOff x="5273675" y="2606675"/>
              <a:chExt cx="1644649" cy="1646238"/>
            </a:xfrm>
          </p:grpSpPr>
          <p:sp>
            <p:nvSpPr>
              <p:cNvPr id="97" name="AutoShape 3"/>
              <p:cNvSpPr>
                <a:spLocks noChangeAspect="1" noChangeArrowheads="1" noTextEdit="1"/>
              </p:cNvSpPr>
              <p:nvPr/>
            </p:nvSpPr>
            <p:spPr bwMode="auto">
              <a:xfrm>
                <a:off x="5273675" y="2606675"/>
                <a:ext cx="1644649"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8" name="Group 97"/>
              <p:cNvGrpSpPr/>
              <p:nvPr/>
            </p:nvGrpSpPr>
            <p:grpSpPr>
              <a:xfrm>
                <a:off x="5635622" y="2774948"/>
                <a:ext cx="920749" cy="1306512"/>
                <a:chOff x="5635625" y="2774950"/>
                <a:chExt cx="920751" cy="1306513"/>
              </a:xfrm>
            </p:grpSpPr>
            <p:sp>
              <p:nvSpPr>
                <p:cNvPr id="99" name="Freeform 98"/>
                <p:cNvSpPr>
                  <a:spLocks/>
                </p:cNvSpPr>
                <p:nvPr/>
              </p:nvSpPr>
              <p:spPr bwMode="auto">
                <a:xfrm>
                  <a:off x="5635625" y="2881312"/>
                  <a:ext cx="823913" cy="1123950"/>
                </a:xfrm>
                <a:custGeom>
                  <a:avLst/>
                  <a:gdLst>
                    <a:gd name="connsiteX0" fmla="*/ 409607 w 823913"/>
                    <a:gd name="connsiteY0" fmla="*/ 866775 h 1123950"/>
                    <a:gd name="connsiteX1" fmla="*/ 614363 w 823913"/>
                    <a:gd name="connsiteY1" fmla="*/ 866775 h 1123950"/>
                    <a:gd name="connsiteX2" fmla="*/ 587158 w 823913"/>
                    <a:gd name="connsiteY2" fmla="*/ 895350 h 1123950"/>
                    <a:gd name="connsiteX3" fmla="*/ 409607 w 823913"/>
                    <a:gd name="connsiteY3" fmla="*/ 895350 h 1123950"/>
                    <a:gd name="connsiteX4" fmla="*/ 395288 w 823913"/>
                    <a:gd name="connsiteY4" fmla="*/ 880696 h 1123950"/>
                    <a:gd name="connsiteX5" fmla="*/ 409607 w 823913"/>
                    <a:gd name="connsiteY5" fmla="*/ 866775 h 1123950"/>
                    <a:gd name="connsiteX6" fmla="*/ 179388 w 823913"/>
                    <a:gd name="connsiteY6" fmla="*/ 787400 h 1123950"/>
                    <a:gd name="connsiteX7" fmla="*/ 179388 w 823913"/>
                    <a:gd name="connsiteY7" fmla="*/ 873125 h 1123950"/>
                    <a:gd name="connsiteX8" fmla="*/ 265113 w 823913"/>
                    <a:gd name="connsiteY8" fmla="*/ 873125 h 1123950"/>
                    <a:gd name="connsiteX9" fmla="*/ 265113 w 823913"/>
                    <a:gd name="connsiteY9" fmla="*/ 787400 h 1123950"/>
                    <a:gd name="connsiteX10" fmla="*/ 179388 w 823913"/>
                    <a:gd name="connsiteY10" fmla="*/ 787400 h 1123950"/>
                    <a:gd name="connsiteX11" fmla="*/ 409556 w 823913"/>
                    <a:gd name="connsiteY11" fmla="*/ 774700 h 1123950"/>
                    <a:gd name="connsiteX12" fmla="*/ 669945 w 823913"/>
                    <a:gd name="connsiteY12" fmla="*/ 774700 h 1123950"/>
                    <a:gd name="connsiteX13" fmla="*/ 684213 w 823913"/>
                    <a:gd name="connsiteY13" fmla="*/ 789414 h 1123950"/>
                    <a:gd name="connsiteX14" fmla="*/ 669945 w 823913"/>
                    <a:gd name="connsiteY14" fmla="*/ 804863 h 1123950"/>
                    <a:gd name="connsiteX15" fmla="*/ 409556 w 823913"/>
                    <a:gd name="connsiteY15" fmla="*/ 804863 h 1123950"/>
                    <a:gd name="connsiteX16" fmla="*/ 395288 w 823913"/>
                    <a:gd name="connsiteY16" fmla="*/ 789414 h 1123950"/>
                    <a:gd name="connsiteX17" fmla="*/ 409556 w 823913"/>
                    <a:gd name="connsiteY17" fmla="*/ 774700 h 1123950"/>
                    <a:gd name="connsiteX18" fmla="*/ 163600 w 823913"/>
                    <a:gd name="connsiteY18" fmla="*/ 758825 h 1123950"/>
                    <a:gd name="connsiteX19" fmla="*/ 279314 w 823913"/>
                    <a:gd name="connsiteY19" fmla="*/ 758825 h 1123950"/>
                    <a:gd name="connsiteX20" fmla="*/ 293688 w 823913"/>
                    <a:gd name="connsiteY20" fmla="*/ 773113 h 1123950"/>
                    <a:gd name="connsiteX21" fmla="*/ 293688 w 823913"/>
                    <a:gd name="connsiteY21" fmla="*/ 887413 h 1123950"/>
                    <a:gd name="connsiteX22" fmla="*/ 279314 w 823913"/>
                    <a:gd name="connsiteY22" fmla="*/ 901700 h 1123950"/>
                    <a:gd name="connsiteX23" fmla="*/ 163600 w 823913"/>
                    <a:gd name="connsiteY23" fmla="*/ 901700 h 1123950"/>
                    <a:gd name="connsiteX24" fmla="*/ 149225 w 823913"/>
                    <a:gd name="connsiteY24" fmla="*/ 887413 h 1123950"/>
                    <a:gd name="connsiteX25" fmla="*/ 149225 w 823913"/>
                    <a:gd name="connsiteY25" fmla="*/ 773113 h 1123950"/>
                    <a:gd name="connsiteX26" fmla="*/ 163600 w 823913"/>
                    <a:gd name="connsiteY26" fmla="*/ 758825 h 1123950"/>
                    <a:gd name="connsiteX27" fmla="*/ 409556 w 823913"/>
                    <a:gd name="connsiteY27" fmla="*/ 608012 h 1123950"/>
                    <a:gd name="connsiteX28" fmla="*/ 669945 w 823913"/>
                    <a:gd name="connsiteY28" fmla="*/ 608012 h 1123950"/>
                    <a:gd name="connsiteX29" fmla="*/ 684213 w 823913"/>
                    <a:gd name="connsiteY29" fmla="*/ 623094 h 1123950"/>
                    <a:gd name="connsiteX30" fmla="*/ 669945 w 823913"/>
                    <a:gd name="connsiteY30" fmla="*/ 638175 h 1123950"/>
                    <a:gd name="connsiteX31" fmla="*/ 409556 w 823913"/>
                    <a:gd name="connsiteY31" fmla="*/ 638175 h 1123950"/>
                    <a:gd name="connsiteX32" fmla="*/ 395288 w 823913"/>
                    <a:gd name="connsiteY32" fmla="*/ 623094 h 1123950"/>
                    <a:gd name="connsiteX33" fmla="*/ 409556 w 823913"/>
                    <a:gd name="connsiteY33" fmla="*/ 608012 h 1123950"/>
                    <a:gd name="connsiteX34" fmla="*/ 179388 w 823913"/>
                    <a:gd name="connsiteY34" fmla="*/ 536575 h 1123950"/>
                    <a:gd name="connsiteX35" fmla="*/ 179388 w 823913"/>
                    <a:gd name="connsiteY35" fmla="*/ 622300 h 1123950"/>
                    <a:gd name="connsiteX36" fmla="*/ 265113 w 823913"/>
                    <a:gd name="connsiteY36" fmla="*/ 622300 h 1123950"/>
                    <a:gd name="connsiteX37" fmla="*/ 265113 w 823913"/>
                    <a:gd name="connsiteY37" fmla="*/ 536575 h 1123950"/>
                    <a:gd name="connsiteX38" fmla="*/ 179388 w 823913"/>
                    <a:gd name="connsiteY38" fmla="*/ 536575 h 1123950"/>
                    <a:gd name="connsiteX39" fmla="*/ 409556 w 823913"/>
                    <a:gd name="connsiteY39" fmla="*/ 517525 h 1123950"/>
                    <a:gd name="connsiteX40" fmla="*/ 669945 w 823913"/>
                    <a:gd name="connsiteY40" fmla="*/ 517525 h 1123950"/>
                    <a:gd name="connsiteX41" fmla="*/ 684213 w 823913"/>
                    <a:gd name="connsiteY41" fmla="*/ 531813 h 1123950"/>
                    <a:gd name="connsiteX42" fmla="*/ 669945 w 823913"/>
                    <a:gd name="connsiteY42" fmla="*/ 546100 h 1123950"/>
                    <a:gd name="connsiteX43" fmla="*/ 409556 w 823913"/>
                    <a:gd name="connsiteY43" fmla="*/ 546100 h 1123950"/>
                    <a:gd name="connsiteX44" fmla="*/ 395288 w 823913"/>
                    <a:gd name="connsiteY44" fmla="*/ 531813 h 1123950"/>
                    <a:gd name="connsiteX45" fmla="*/ 409556 w 823913"/>
                    <a:gd name="connsiteY45" fmla="*/ 517525 h 1123950"/>
                    <a:gd name="connsiteX46" fmla="*/ 163600 w 823913"/>
                    <a:gd name="connsiteY46" fmla="*/ 508000 h 1123950"/>
                    <a:gd name="connsiteX47" fmla="*/ 279314 w 823913"/>
                    <a:gd name="connsiteY47" fmla="*/ 508000 h 1123950"/>
                    <a:gd name="connsiteX48" fmla="*/ 293688 w 823913"/>
                    <a:gd name="connsiteY48" fmla="*/ 522927 h 1123950"/>
                    <a:gd name="connsiteX49" fmla="*/ 293688 w 823913"/>
                    <a:gd name="connsiteY49" fmla="*/ 636659 h 1123950"/>
                    <a:gd name="connsiteX50" fmla="*/ 279314 w 823913"/>
                    <a:gd name="connsiteY50" fmla="*/ 650875 h 1123950"/>
                    <a:gd name="connsiteX51" fmla="*/ 163600 w 823913"/>
                    <a:gd name="connsiteY51" fmla="*/ 650875 h 1123950"/>
                    <a:gd name="connsiteX52" fmla="*/ 149225 w 823913"/>
                    <a:gd name="connsiteY52" fmla="*/ 636659 h 1123950"/>
                    <a:gd name="connsiteX53" fmla="*/ 149225 w 823913"/>
                    <a:gd name="connsiteY53" fmla="*/ 522927 h 1123950"/>
                    <a:gd name="connsiteX54" fmla="*/ 163600 w 823913"/>
                    <a:gd name="connsiteY54" fmla="*/ 508000 h 1123950"/>
                    <a:gd name="connsiteX55" fmla="*/ 409556 w 823913"/>
                    <a:gd name="connsiteY55" fmla="*/ 352425 h 1123950"/>
                    <a:gd name="connsiteX56" fmla="*/ 669945 w 823913"/>
                    <a:gd name="connsiteY56" fmla="*/ 352425 h 1123950"/>
                    <a:gd name="connsiteX57" fmla="*/ 684213 w 823913"/>
                    <a:gd name="connsiteY57" fmla="*/ 366713 h 1123950"/>
                    <a:gd name="connsiteX58" fmla="*/ 669945 w 823913"/>
                    <a:gd name="connsiteY58" fmla="*/ 381000 h 1123950"/>
                    <a:gd name="connsiteX59" fmla="*/ 409556 w 823913"/>
                    <a:gd name="connsiteY59" fmla="*/ 381000 h 1123950"/>
                    <a:gd name="connsiteX60" fmla="*/ 395288 w 823913"/>
                    <a:gd name="connsiteY60" fmla="*/ 366713 h 1123950"/>
                    <a:gd name="connsiteX61" fmla="*/ 409556 w 823913"/>
                    <a:gd name="connsiteY61" fmla="*/ 352425 h 1123950"/>
                    <a:gd name="connsiteX62" fmla="*/ 179388 w 823913"/>
                    <a:gd name="connsiteY62" fmla="*/ 279400 h 1123950"/>
                    <a:gd name="connsiteX63" fmla="*/ 179388 w 823913"/>
                    <a:gd name="connsiteY63" fmla="*/ 365125 h 1123950"/>
                    <a:gd name="connsiteX64" fmla="*/ 265113 w 823913"/>
                    <a:gd name="connsiteY64" fmla="*/ 365125 h 1123950"/>
                    <a:gd name="connsiteX65" fmla="*/ 265113 w 823913"/>
                    <a:gd name="connsiteY65" fmla="*/ 279400 h 1123950"/>
                    <a:gd name="connsiteX66" fmla="*/ 179388 w 823913"/>
                    <a:gd name="connsiteY66" fmla="*/ 279400 h 1123950"/>
                    <a:gd name="connsiteX67" fmla="*/ 409556 w 823913"/>
                    <a:gd name="connsiteY67" fmla="*/ 260350 h 1123950"/>
                    <a:gd name="connsiteX68" fmla="*/ 669945 w 823913"/>
                    <a:gd name="connsiteY68" fmla="*/ 260350 h 1123950"/>
                    <a:gd name="connsiteX69" fmla="*/ 684213 w 823913"/>
                    <a:gd name="connsiteY69" fmla="*/ 274638 h 1123950"/>
                    <a:gd name="connsiteX70" fmla="*/ 669945 w 823913"/>
                    <a:gd name="connsiteY70" fmla="*/ 288925 h 1123950"/>
                    <a:gd name="connsiteX71" fmla="*/ 409556 w 823913"/>
                    <a:gd name="connsiteY71" fmla="*/ 288925 h 1123950"/>
                    <a:gd name="connsiteX72" fmla="*/ 395288 w 823913"/>
                    <a:gd name="connsiteY72" fmla="*/ 274638 h 1123950"/>
                    <a:gd name="connsiteX73" fmla="*/ 409556 w 823913"/>
                    <a:gd name="connsiteY73" fmla="*/ 260350 h 1123950"/>
                    <a:gd name="connsiteX74" fmla="*/ 163600 w 823913"/>
                    <a:gd name="connsiteY74" fmla="*/ 250825 h 1123950"/>
                    <a:gd name="connsiteX75" fmla="*/ 279314 w 823913"/>
                    <a:gd name="connsiteY75" fmla="*/ 250825 h 1123950"/>
                    <a:gd name="connsiteX76" fmla="*/ 293688 w 823913"/>
                    <a:gd name="connsiteY76" fmla="*/ 265184 h 1123950"/>
                    <a:gd name="connsiteX77" fmla="*/ 293688 w 823913"/>
                    <a:gd name="connsiteY77" fmla="*/ 379341 h 1123950"/>
                    <a:gd name="connsiteX78" fmla="*/ 279314 w 823913"/>
                    <a:gd name="connsiteY78" fmla="*/ 393700 h 1123950"/>
                    <a:gd name="connsiteX79" fmla="*/ 163600 w 823913"/>
                    <a:gd name="connsiteY79" fmla="*/ 393700 h 1123950"/>
                    <a:gd name="connsiteX80" fmla="*/ 149225 w 823913"/>
                    <a:gd name="connsiteY80" fmla="*/ 379341 h 1123950"/>
                    <a:gd name="connsiteX81" fmla="*/ 149225 w 823913"/>
                    <a:gd name="connsiteY81" fmla="*/ 265184 h 1123950"/>
                    <a:gd name="connsiteX82" fmla="*/ 163600 w 823913"/>
                    <a:gd name="connsiteY82" fmla="*/ 250825 h 1123950"/>
                    <a:gd name="connsiteX83" fmla="*/ 581025 w 823913"/>
                    <a:gd name="connsiteY83" fmla="*/ 0 h 1123950"/>
                    <a:gd name="connsiteX84" fmla="*/ 809668 w 823913"/>
                    <a:gd name="connsiteY84" fmla="*/ 0 h 1123950"/>
                    <a:gd name="connsiteX85" fmla="*/ 823913 w 823913"/>
                    <a:gd name="connsiteY85" fmla="*/ 14296 h 1123950"/>
                    <a:gd name="connsiteX86" fmla="*/ 823913 w 823913"/>
                    <a:gd name="connsiteY86" fmla="*/ 833438 h 1123950"/>
                    <a:gd name="connsiteX87" fmla="*/ 795422 w 823913"/>
                    <a:gd name="connsiteY87" fmla="*/ 824146 h 1123950"/>
                    <a:gd name="connsiteX88" fmla="*/ 795422 w 823913"/>
                    <a:gd name="connsiteY88" fmla="*/ 28591 h 1123950"/>
                    <a:gd name="connsiteX89" fmla="*/ 581025 w 823913"/>
                    <a:gd name="connsiteY89" fmla="*/ 28591 h 1123950"/>
                    <a:gd name="connsiteX90" fmla="*/ 581025 w 823913"/>
                    <a:gd name="connsiteY90" fmla="*/ 0 h 1123950"/>
                    <a:gd name="connsiteX91" fmla="*/ 14275 w 823913"/>
                    <a:gd name="connsiteY91" fmla="*/ 0 h 1123950"/>
                    <a:gd name="connsiteX92" fmla="*/ 257673 w 823913"/>
                    <a:gd name="connsiteY92" fmla="*/ 0 h 1123950"/>
                    <a:gd name="connsiteX93" fmla="*/ 257673 w 823913"/>
                    <a:gd name="connsiteY93" fmla="*/ 28599 h 1123950"/>
                    <a:gd name="connsiteX94" fmla="*/ 28551 w 823913"/>
                    <a:gd name="connsiteY94" fmla="*/ 28599 h 1123950"/>
                    <a:gd name="connsiteX95" fmla="*/ 28551 w 823913"/>
                    <a:gd name="connsiteY95" fmla="*/ 1095351 h 1123950"/>
                    <a:gd name="connsiteX96" fmla="*/ 553890 w 823913"/>
                    <a:gd name="connsiteY96" fmla="*/ 1095351 h 1123950"/>
                    <a:gd name="connsiteX97" fmla="*/ 566738 w 823913"/>
                    <a:gd name="connsiteY97" fmla="*/ 1123950 h 1123950"/>
                    <a:gd name="connsiteX98" fmla="*/ 14275 w 823913"/>
                    <a:gd name="connsiteY98" fmla="*/ 1123950 h 1123950"/>
                    <a:gd name="connsiteX99" fmla="*/ 0 w 823913"/>
                    <a:gd name="connsiteY99" fmla="*/ 1109651 h 1123950"/>
                    <a:gd name="connsiteX100" fmla="*/ 0 w 823913"/>
                    <a:gd name="connsiteY100" fmla="*/ 14299 h 1123950"/>
                    <a:gd name="connsiteX101" fmla="*/ 14275 w 823913"/>
                    <a:gd name="connsiteY101" fmla="*/ 0 h 112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823913" h="1123950">
                      <a:moveTo>
                        <a:pt x="409607" y="866775"/>
                      </a:moveTo>
                      <a:cubicBezTo>
                        <a:pt x="514133" y="866775"/>
                        <a:pt x="577135" y="866775"/>
                        <a:pt x="614363" y="866775"/>
                      </a:cubicBezTo>
                      <a:cubicBezTo>
                        <a:pt x="604340" y="875567"/>
                        <a:pt x="595749" y="885092"/>
                        <a:pt x="587158" y="895350"/>
                      </a:cubicBezTo>
                      <a:cubicBezTo>
                        <a:pt x="409607" y="895350"/>
                        <a:pt x="409607" y="895350"/>
                        <a:pt x="409607" y="895350"/>
                      </a:cubicBezTo>
                      <a:cubicBezTo>
                        <a:pt x="401732" y="895350"/>
                        <a:pt x="395288" y="888756"/>
                        <a:pt x="395288" y="880696"/>
                      </a:cubicBezTo>
                      <a:cubicBezTo>
                        <a:pt x="395288" y="873369"/>
                        <a:pt x="401732" y="866775"/>
                        <a:pt x="409607" y="866775"/>
                      </a:cubicBezTo>
                      <a:close/>
                      <a:moveTo>
                        <a:pt x="179388" y="787400"/>
                      </a:moveTo>
                      <a:cubicBezTo>
                        <a:pt x="179388" y="873125"/>
                        <a:pt x="179388" y="873125"/>
                        <a:pt x="179388" y="873125"/>
                      </a:cubicBezTo>
                      <a:cubicBezTo>
                        <a:pt x="265113" y="873125"/>
                        <a:pt x="265113" y="873125"/>
                        <a:pt x="265113" y="873125"/>
                      </a:cubicBezTo>
                      <a:cubicBezTo>
                        <a:pt x="265113" y="787400"/>
                        <a:pt x="265113" y="787400"/>
                        <a:pt x="265113" y="787400"/>
                      </a:cubicBezTo>
                      <a:cubicBezTo>
                        <a:pt x="179388" y="787400"/>
                        <a:pt x="179388" y="787400"/>
                        <a:pt x="179388" y="787400"/>
                      </a:cubicBezTo>
                      <a:close/>
                      <a:moveTo>
                        <a:pt x="409556" y="774700"/>
                      </a:moveTo>
                      <a:cubicBezTo>
                        <a:pt x="669945" y="774700"/>
                        <a:pt x="669945" y="774700"/>
                        <a:pt x="669945" y="774700"/>
                      </a:cubicBezTo>
                      <a:cubicBezTo>
                        <a:pt x="677793" y="774700"/>
                        <a:pt x="684213" y="780586"/>
                        <a:pt x="684213" y="789414"/>
                      </a:cubicBezTo>
                      <a:cubicBezTo>
                        <a:pt x="684213" y="798242"/>
                        <a:pt x="677793" y="804863"/>
                        <a:pt x="669945" y="804863"/>
                      </a:cubicBezTo>
                      <a:cubicBezTo>
                        <a:pt x="409556" y="804863"/>
                        <a:pt x="409556" y="804863"/>
                        <a:pt x="409556" y="804863"/>
                      </a:cubicBezTo>
                      <a:cubicBezTo>
                        <a:pt x="401709" y="804863"/>
                        <a:pt x="395288" y="798242"/>
                        <a:pt x="395288" y="789414"/>
                      </a:cubicBezTo>
                      <a:cubicBezTo>
                        <a:pt x="395288" y="780586"/>
                        <a:pt x="401709" y="774700"/>
                        <a:pt x="409556" y="774700"/>
                      </a:cubicBezTo>
                      <a:close/>
                      <a:moveTo>
                        <a:pt x="163600" y="758825"/>
                      </a:moveTo>
                      <a:cubicBezTo>
                        <a:pt x="279314" y="758825"/>
                        <a:pt x="279314" y="758825"/>
                        <a:pt x="279314" y="758825"/>
                      </a:cubicBezTo>
                      <a:cubicBezTo>
                        <a:pt x="287220" y="758825"/>
                        <a:pt x="293688" y="765255"/>
                        <a:pt x="293688" y="773113"/>
                      </a:cubicBezTo>
                      <a:cubicBezTo>
                        <a:pt x="293688" y="887413"/>
                        <a:pt x="293688" y="887413"/>
                        <a:pt x="293688" y="887413"/>
                      </a:cubicBezTo>
                      <a:cubicBezTo>
                        <a:pt x="293688" y="895271"/>
                        <a:pt x="287220" y="901700"/>
                        <a:pt x="279314" y="901700"/>
                      </a:cubicBezTo>
                      <a:cubicBezTo>
                        <a:pt x="163600" y="901700"/>
                        <a:pt x="163600" y="901700"/>
                        <a:pt x="163600" y="901700"/>
                      </a:cubicBezTo>
                      <a:cubicBezTo>
                        <a:pt x="155694" y="901700"/>
                        <a:pt x="149225" y="895271"/>
                        <a:pt x="149225" y="887413"/>
                      </a:cubicBezTo>
                      <a:cubicBezTo>
                        <a:pt x="149225" y="773113"/>
                        <a:pt x="149225" y="773113"/>
                        <a:pt x="149225" y="773113"/>
                      </a:cubicBezTo>
                      <a:cubicBezTo>
                        <a:pt x="149225" y="765255"/>
                        <a:pt x="155694" y="758825"/>
                        <a:pt x="163600" y="758825"/>
                      </a:cubicBezTo>
                      <a:close/>
                      <a:moveTo>
                        <a:pt x="409556" y="608012"/>
                      </a:moveTo>
                      <a:cubicBezTo>
                        <a:pt x="669945" y="608012"/>
                        <a:pt x="669945" y="608012"/>
                        <a:pt x="669945" y="608012"/>
                      </a:cubicBezTo>
                      <a:cubicBezTo>
                        <a:pt x="677793" y="608012"/>
                        <a:pt x="684213" y="614476"/>
                        <a:pt x="684213" y="623094"/>
                      </a:cubicBezTo>
                      <a:cubicBezTo>
                        <a:pt x="684213" y="631712"/>
                        <a:pt x="677793" y="638175"/>
                        <a:pt x="669945" y="638175"/>
                      </a:cubicBezTo>
                      <a:cubicBezTo>
                        <a:pt x="409556" y="638175"/>
                        <a:pt x="409556" y="638175"/>
                        <a:pt x="409556" y="638175"/>
                      </a:cubicBezTo>
                      <a:cubicBezTo>
                        <a:pt x="401709" y="638175"/>
                        <a:pt x="395288" y="631712"/>
                        <a:pt x="395288" y="623094"/>
                      </a:cubicBezTo>
                      <a:cubicBezTo>
                        <a:pt x="395288" y="614476"/>
                        <a:pt x="401709" y="608012"/>
                        <a:pt x="409556" y="608012"/>
                      </a:cubicBezTo>
                      <a:close/>
                      <a:moveTo>
                        <a:pt x="179388" y="536575"/>
                      </a:moveTo>
                      <a:cubicBezTo>
                        <a:pt x="179388" y="622300"/>
                        <a:pt x="179388" y="622300"/>
                        <a:pt x="179388" y="622300"/>
                      </a:cubicBezTo>
                      <a:cubicBezTo>
                        <a:pt x="265113" y="622300"/>
                        <a:pt x="265113" y="622300"/>
                        <a:pt x="265113" y="622300"/>
                      </a:cubicBezTo>
                      <a:cubicBezTo>
                        <a:pt x="265113" y="536575"/>
                        <a:pt x="265113" y="536575"/>
                        <a:pt x="265113" y="536575"/>
                      </a:cubicBezTo>
                      <a:cubicBezTo>
                        <a:pt x="179388" y="536575"/>
                        <a:pt x="179388" y="536575"/>
                        <a:pt x="179388" y="536575"/>
                      </a:cubicBezTo>
                      <a:close/>
                      <a:moveTo>
                        <a:pt x="409556" y="517525"/>
                      </a:moveTo>
                      <a:cubicBezTo>
                        <a:pt x="669945" y="517525"/>
                        <a:pt x="669945" y="517525"/>
                        <a:pt x="669945" y="517525"/>
                      </a:cubicBezTo>
                      <a:cubicBezTo>
                        <a:pt x="677793" y="517525"/>
                        <a:pt x="684213" y="523955"/>
                        <a:pt x="684213" y="531813"/>
                      </a:cubicBezTo>
                      <a:cubicBezTo>
                        <a:pt x="684213" y="539671"/>
                        <a:pt x="677793" y="546100"/>
                        <a:pt x="669945" y="546100"/>
                      </a:cubicBezTo>
                      <a:cubicBezTo>
                        <a:pt x="409556" y="546100"/>
                        <a:pt x="409556" y="546100"/>
                        <a:pt x="409556" y="546100"/>
                      </a:cubicBezTo>
                      <a:cubicBezTo>
                        <a:pt x="401709" y="546100"/>
                        <a:pt x="395288" y="539671"/>
                        <a:pt x="395288" y="531813"/>
                      </a:cubicBezTo>
                      <a:cubicBezTo>
                        <a:pt x="395288" y="523955"/>
                        <a:pt x="401709" y="517525"/>
                        <a:pt x="409556" y="517525"/>
                      </a:cubicBezTo>
                      <a:close/>
                      <a:moveTo>
                        <a:pt x="163600" y="508000"/>
                      </a:moveTo>
                      <a:cubicBezTo>
                        <a:pt x="279314" y="508000"/>
                        <a:pt x="279314" y="508000"/>
                        <a:pt x="279314" y="508000"/>
                      </a:cubicBezTo>
                      <a:cubicBezTo>
                        <a:pt x="287220" y="508000"/>
                        <a:pt x="293688" y="515108"/>
                        <a:pt x="293688" y="522927"/>
                      </a:cubicBezTo>
                      <a:cubicBezTo>
                        <a:pt x="293688" y="636659"/>
                        <a:pt x="293688" y="636659"/>
                        <a:pt x="293688" y="636659"/>
                      </a:cubicBezTo>
                      <a:cubicBezTo>
                        <a:pt x="293688" y="644478"/>
                        <a:pt x="287220" y="650875"/>
                        <a:pt x="279314" y="650875"/>
                      </a:cubicBezTo>
                      <a:cubicBezTo>
                        <a:pt x="163600" y="650875"/>
                        <a:pt x="163600" y="650875"/>
                        <a:pt x="163600" y="650875"/>
                      </a:cubicBezTo>
                      <a:cubicBezTo>
                        <a:pt x="155694" y="650875"/>
                        <a:pt x="149225" y="644478"/>
                        <a:pt x="149225" y="636659"/>
                      </a:cubicBezTo>
                      <a:cubicBezTo>
                        <a:pt x="149225" y="522927"/>
                        <a:pt x="149225" y="522927"/>
                        <a:pt x="149225" y="522927"/>
                      </a:cubicBezTo>
                      <a:cubicBezTo>
                        <a:pt x="149225" y="515108"/>
                        <a:pt x="155694" y="508000"/>
                        <a:pt x="163600" y="508000"/>
                      </a:cubicBezTo>
                      <a:close/>
                      <a:moveTo>
                        <a:pt x="409556" y="352425"/>
                      </a:moveTo>
                      <a:cubicBezTo>
                        <a:pt x="669945" y="352425"/>
                        <a:pt x="669945" y="352425"/>
                        <a:pt x="669945" y="352425"/>
                      </a:cubicBezTo>
                      <a:cubicBezTo>
                        <a:pt x="677793" y="352425"/>
                        <a:pt x="684213" y="358855"/>
                        <a:pt x="684213" y="366713"/>
                      </a:cubicBezTo>
                      <a:cubicBezTo>
                        <a:pt x="684213" y="374571"/>
                        <a:pt x="677793" y="381000"/>
                        <a:pt x="669945" y="381000"/>
                      </a:cubicBezTo>
                      <a:cubicBezTo>
                        <a:pt x="409556" y="381000"/>
                        <a:pt x="409556" y="381000"/>
                        <a:pt x="409556" y="381000"/>
                      </a:cubicBezTo>
                      <a:cubicBezTo>
                        <a:pt x="401709" y="381000"/>
                        <a:pt x="395288" y="374571"/>
                        <a:pt x="395288" y="366713"/>
                      </a:cubicBezTo>
                      <a:cubicBezTo>
                        <a:pt x="395288" y="358855"/>
                        <a:pt x="401709" y="352425"/>
                        <a:pt x="409556" y="352425"/>
                      </a:cubicBezTo>
                      <a:close/>
                      <a:moveTo>
                        <a:pt x="179388" y="279400"/>
                      </a:moveTo>
                      <a:cubicBezTo>
                        <a:pt x="179388" y="365125"/>
                        <a:pt x="179388" y="365125"/>
                        <a:pt x="179388" y="365125"/>
                      </a:cubicBezTo>
                      <a:cubicBezTo>
                        <a:pt x="265113" y="365125"/>
                        <a:pt x="265113" y="365125"/>
                        <a:pt x="265113" y="365125"/>
                      </a:cubicBezTo>
                      <a:cubicBezTo>
                        <a:pt x="265113" y="279400"/>
                        <a:pt x="265113" y="279400"/>
                        <a:pt x="265113" y="279400"/>
                      </a:cubicBezTo>
                      <a:cubicBezTo>
                        <a:pt x="179388" y="279400"/>
                        <a:pt x="179388" y="279400"/>
                        <a:pt x="179388" y="279400"/>
                      </a:cubicBezTo>
                      <a:close/>
                      <a:moveTo>
                        <a:pt x="409556" y="260350"/>
                      </a:moveTo>
                      <a:cubicBezTo>
                        <a:pt x="669945" y="260350"/>
                        <a:pt x="669945" y="260350"/>
                        <a:pt x="669945" y="260350"/>
                      </a:cubicBezTo>
                      <a:cubicBezTo>
                        <a:pt x="677793" y="260350"/>
                        <a:pt x="684213" y="266780"/>
                        <a:pt x="684213" y="274638"/>
                      </a:cubicBezTo>
                      <a:cubicBezTo>
                        <a:pt x="684213" y="283210"/>
                        <a:pt x="677793" y="288925"/>
                        <a:pt x="669945" y="288925"/>
                      </a:cubicBezTo>
                      <a:cubicBezTo>
                        <a:pt x="409556" y="288925"/>
                        <a:pt x="409556" y="288925"/>
                        <a:pt x="409556" y="288925"/>
                      </a:cubicBezTo>
                      <a:cubicBezTo>
                        <a:pt x="401709" y="288925"/>
                        <a:pt x="395288" y="283210"/>
                        <a:pt x="395288" y="274638"/>
                      </a:cubicBezTo>
                      <a:cubicBezTo>
                        <a:pt x="395288" y="266780"/>
                        <a:pt x="401709" y="260350"/>
                        <a:pt x="409556" y="260350"/>
                      </a:cubicBezTo>
                      <a:close/>
                      <a:moveTo>
                        <a:pt x="163600" y="250825"/>
                      </a:moveTo>
                      <a:cubicBezTo>
                        <a:pt x="279314" y="250825"/>
                        <a:pt x="279314" y="250825"/>
                        <a:pt x="279314" y="250825"/>
                      </a:cubicBezTo>
                      <a:cubicBezTo>
                        <a:pt x="287220" y="250825"/>
                        <a:pt x="293688" y="257287"/>
                        <a:pt x="293688" y="265184"/>
                      </a:cubicBezTo>
                      <a:cubicBezTo>
                        <a:pt x="293688" y="379341"/>
                        <a:pt x="293688" y="379341"/>
                        <a:pt x="293688" y="379341"/>
                      </a:cubicBezTo>
                      <a:cubicBezTo>
                        <a:pt x="293688" y="387238"/>
                        <a:pt x="287220" y="393700"/>
                        <a:pt x="279314" y="393700"/>
                      </a:cubicBezTo>
                      <a:cubicBezTo>
                        <a:pt x="163600" y="393700"/>
                        <a:pt x="163600" y="393700"/>
                        <a:pt x="163600" y="393700"/>
                      </a:cubicBezTo>
                      <a:cubicBezTo>
                        <a:pt x="155694" y="393700"/>
                        <a:pt x="149225" y="387238"/>
                        <a:pt x="149225" y="379341"/>
                      </a:cubicBezTo>
                      <a:cubicBezTo>
                        <a:pt x="149225" y="265184"/>
                        <a:pt x="149225" y="265184"/>
                        <a:pt x="149225" y="265184"/>
                      </a:cubicBezTo>
                      <a:cubicBezTo>
                        <a:pt x="149225" y="257287"/>
                        <a:pt x="155694" y="250825"/>
                        <a:pt x="163600" y="250825"/>
                      </a:cubicBezTo>
                      <a:close/>
                      <a:moveTo>
                        <a:pt x="581025" y="0"/>
                      </a:moveTo>
                      <a:cubicBezTo>
                        <a:pt x="581025" y="0"/>
                        <a:pt x="581025" y="0"/>
                        <a:pt x="809668" y="0"/>
                      </a:cubicBezTo>
                      <a:cubicBezTo>
                        <a:pt x="817503" y="0"/>
                        <a:pt x="823913" y="6433"/>
                        <a:pt x="823913" y="14296"/>
                      </a:cubicBezTo>
                      <a:cubicBezTo>
                        <a:pt x="823913" y="14296"/>
                        <a:pt x="823913" y="14296"/>
                        <a:pt x="823913" y="833438"/>
                      </a:cubicBezTo>
                      <a:cubicBezTo>
                        <a:pt x="814654" y="829864"/>
                        <a:pt x="805394" y="827005"/>
                        <a:pt x="795422" y="824146"/>
                      </a:cubicBezTo>
                      <a:cubicBezTo>
                        <a:pt x="795422" y="808421"/>
                        <a:pt x="795422" y="704777"/>
                        <a:pt x="795422" y="28591"/>
                      </a:cubicBezTo>
                      <a:cubicBezTo>
                        <a:pt x="795422" y="28591"/>
                        <a:pt x="795422" y="28591"/>
                        <a:pt x="581025" y="28591"/>
                      </a:cubicBezTo>
                      <a:cubicBezTo>
                        <a:pt x="581025" y="28591"/>
                        <a:pt x="581025" y="28591"/>
                        <a:pt x="581025" y="0"/>
                      </a:cubicBezTo>
                      <a:close/>
                      <a:moveTo>
                        <a:pt x="14275" y="0"/>
                      </a:moveTo>
                      <a:cubicBezTo>
                        <a:pt x="14275" y="0"/>
                        <a:pt x="14275" y="0"/>
                        <a:pt x="257673" y="0"/>
                      </a:cubicBezTo>
                      <a:cubicBezTo>
                        <a:pt x="257673" y="0"/>
                        <a:pt x="257673" y="0"/>
                        <a:pt x="257673" y="28599"/>
                      </a:cubicBezTo>
                      <a:cubicBezTo>
                        <a:pt x="257673" y="28599"/>
                        <a:pt x="257673" y="28599"/>
                        <a:pt x="28551" y="28599"/>
                      </a:cubicBezTo>
                      <a:cubicBezTo>
                        <a:pt x="28551" y="28599"/>
                        <a:pt x="28551" y="28599"/>
                        <a:pt x="28551" y="1095351"/>
                      </a:cubicBezTo>
                      <a:cubicBezTo>
                        <a:pt x="28551" y="1095351"/>
                        <a:pt x="28551" y="1095351"/>
                        <a:pt x="553890" y="1095351"/>
                      </a:cubicBezTo>
                      <a:cubicBezTo>
                        <a:pt x="557459" y="1105361"/>
                        <a:pt x="561742" y="1115370"/>
                        <a:pt x="566738" y="1123950"/>
                      </a:cubicBezTo>
                      <a:cubicBezTo>
                        <a:pt x="551035" y="1123950"/>
                        <a:pt x="466810" y="1123950"/>
                        <a:pt x="14275" y="1123950"/>
                      </a:cubicBezTo>
                      <a:cubicBezTo>
                        <a:pt x="6424" y="1123950"/>
                        <a:pt x="0" y="1117515"/>
                        <a:pt x="0" y="1109651"/>
                      </a:cubicBezTo>
                      <a:cubicBezTo>
                        <a:pt x="0" y="1109651"/>
                        <a:pt x="0" y="1109651"/>
                        <a:pt x="0" y="14299"/>
                      </a:cubicBezTo>
                      <a:cubicBezTo>
                        <a:pt x="0" y="6435"/>
                        <a:pt x="6424" y="0"/>
                        <a:pt x="1427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0" name="Freeform 99"/>
                <p:cNvSpPr>
                  <a:spLocks/>
                </p:cNvSpPr>
                <p:nvPr/>
              </p:nvSpPr>
              <p:spPr bwMode="auto">
                <a:xfrm>
                  <a:off x="5922963" y="2774950"/>
                  <a:ext cx="633413" cy="1306513"/>
                </a:xfrm>
                <a:custGeom>
                  <a:avLst/>
                  <a:gdLst>
                    <a:gd name="connsiteX0" fmla="*/ 380848 w 633413"/>
                    <a:gd name="connsiteY0" fmla="*/ 1036484 h 1306513"/>
                    <a:gd name="connsiteX1" fmla="*/ 371557 w 633413"/>
                    <a:gd name="connsiteY1" fmla="*/ 1040067 h 1306513"/>
                    <a:gd name="connsiteX2" fmla="*/ 371557 w 633413"/>
                    <a:gd name="connsiteY2" fmla="*/ 1060136 h 1306513"/>
                    <a:gd name="connsiteX3" fmla="*/ 442309 w 633413"/>
                    <a:gd name="connsiteY3" fmla="*/ 1131811 h 1306513"/>
                    <a:gd name="connsiteX4" fmla="*/ 371557 w 633413"/>
                    <a:gd name="connsiteY4" fmla="*/ 1202769 h 1306513"/>
                    <a:gd name="connsiteX5" fmla="*/ 371557 w 633413"/>
                    <a:gd name="connsiteY5" fmla="*/ 1222838 h 1306513"/>
                    <a:gd name="connsiteX6" fmla="*/ 380848 w 633413"/>
                    <a:gd name="connsiteY6" fmla="*/ 1227138 h 1306513"/>
                    <a:gd name="connsiteX7" fmla="*/ 391568 w 633413"/>
                    <a:gd name="connsiteY7" fmla="*/ 1222838 h 1306513"/>
                    <a:gd name="connsiteX8" fmla="*/ 462320 w 633413"/>
                    <a:gd name="connsiteY8" fmla="*/ 1151880 h 1306513"/>
                    <a:gd name="connsiteX9" fmla="*/ 533072 w 633413"/>
                    <a:gd name="connsiteY9" fmla="*/ 1222838 h 1306513"/>
                    <a:gd name="connsiteX10" fmla="*/ 542363 w 633413"/>
                    <a:gd name="connsiteY10" fmla="*/ 1227138 h 1306513"/>
                    <a:gd name="connsiteX11" fmla="*/ 553083 w 633413"/>
                    <a:gd name="connsiteY11" fmla="*/ 1222838 h 1306513"/>
                    <a:gd name="connsiteX12" fmla="*/ 553083 w 633413"/>
                    <a:gd name="connsiteY12" fmla="*/ 1202769 h 1306513"/>
                    <a:gd name="connsiteX13" fmla="*/ 483045 w 633413"/>
                    <a:gd name="connsiteY13" fmla="*/ 1131811 h 1306513"/>
                    <a:gd name="connsiteX14" fmla="*/ 553083 w 633413"/>
                    <a:gd name="connsiteY14" fmla="*/ 1060136 h 1306513"/>
                    <a:gd name="connsiteX15" fmla="*/ 553083 w 633413"/>
                    <a:gd name="connsiteY15" fmla="*/ 1040067 h 1306513"/>
                    <a:gd name="connsiteX16" fmla="*/ 533072 w 633413"/>
                    <a:gd name="connsiteY16" fmla="*/ 1040067 h 1306513"/>
                    <a:gd name="connsiteX17" fmla="*/ 462320 w 633413"/>
                    <a:gd name="connsiteY17" fmla="*/ 1111742 h 1306513"/>
                    <a:gd name="connsiteX18" fmla="*/ 391568 w 633413"/>
                    <a:gd name="connsiteY18" fmla="*/ 1040067 h 1306513"/>
                    <a:gd name="connsiteX19" fmla="*/ 380848 w 633413"/>
                    <a:gd name="connsiteY19" fmla="*/ 1036484 h 1306513"/>
                    <a:gd name="connsiteX20" fmla="*/ 459937 w 633413"/>
                    <a:gd name="connsiteY20" fmla="*/ 955675 h 1306513"/>
                    <a:gd name="connsiteX21" fmla="*/ 633413 w 633413"/>
                    <a:gd name="connsiteY21" fmla="*/ 1131094 h 1306513"/>
                    <a:gd name="connsiteX22" fmla="*/ 459937 w 633413"/>
                    <a:gd name="connsiteY22" fmla="*/ 1306513 h 1306513"/>
                    <a:gd name="connsiteX23" fmla="*/ 285750 w 633413"/>
                    <a:gd name="connsiteY23" fmla="*/ 1131094 h 1306513"/>
                    <a:gd name="connsiteX24" fmla="*/ 342628 w 633413"/>
                    <a:gd name="connsiteY24" fmla="*/ 1000783 h 1306513"/>
                    <a:gd name="connsiteX25" fmla="*/ 383864 w 633413"/>
                    <a:gd name="connsiteY25" fmla="*/ 972859 h 1306513"/>
                    <a:gd name="connsiteX26" fmla="*/ 459937 w 633413"/>
                    <a:gd name="connsiteY26" fmla="*/ 955675 h 1306513"/>
                    <a:gd name="connsiteX27" fmla="*/ 132556 w 633413"/>
                    <a:gd name="connsiteY27" fmla="*/ 28575 h 1306513"/>
                    <a:gd name="connsiteX28" fmla="*/ 84137 w 633413"/>
                    <a:gd name="connsiteY28" fmla="*/ 60325 h 1306513"/>
                    <a:gd name="connsiteX29" fmla="*/ 180975 w 633413"/>
                    <a:gd name="connsiteY29" fmla="*/ 60325 h 1306513"/>
                    <a:gd name="connsiteX30" fmla="*/ 132556 w 633413"/>
                    <a:gd name="connsiteY30" fmla="*/ 28575 h 1306513"/>
                    <a:gd name="connsiteX31" fmla="*/ 132557 w 633413"/>
                    <a:gd name="connsiteY31" fmla="*/ 0 h 1306513"/>
                    <a:gd name="connsiteX32" fmla="*/ 210950 w 633413"/>
                    <a:gd name="connsiteY32" fmla="*/ 59506 h 1306513"/>
                    <a:gd name="connsiteX33" fmla="*/ 250860 w 633413"/>
                    <a:gd name="connsiteY33" fmla="*/ 59506 h 1306513"/>
                    <a:gd name="connsiteX34" fmla="*/ 265113 w 633413"/>
                    <a:gd name="connsiteY34" fmla="*/ 73844 h 1306513"/>
                    <a:gd name="connsiteX35" fmla="*/ 265113 w 633413"/>
                    <a:gd name="connsiteY35" fmla="*/ 163461 h 1306513"/>
                    <a:gd name="connsiteX36" fmla="*/ 250860 w 633413"/>
                    <a:gd name="connsiteY36" fmla="*/ 177800 h 1306513"/>
                    <a:gd name="connsiteX37" fmla="*/ 14254 w 633413"/>
                    <a:gd name="connsiteY37" fmla="*/ 177800 h 1306513"/>
                    <a:gd name="connsiteX38" fmla="*/ 0 w 633413"/>
                    <a:gd name="connsiteY38" fmla="*/ 163461 h 1306513"/>
                    <a:gd name="connsiteX39" fmla="*/ 0 w 633413"/>
                    <a:gd name="connsiteY39" fmla="*/ 73844 h 1306513"/>
                    <a:gd name="connsiteX40" fmla="*/ 14254 w 633413"/>
                    <a:gd name="connsiteY40" fmla="*/ 59506 h 1306513"/>
                    <a:gd name="connsiteX41" fmla="*/ 54876 w 633413"/>
                    <a:gd name="connsiteY41" fmla="*/ 59506 h 1306513"/>
                    <a:gd name="connsiteX42" fmla="*/ 132557 w 633413"/>
                    <a:gd name="connsiteY42" fmla="*/ 0 h 130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33413" h="1306513">
                      <a:moveTo>
                        <a:pt x="380848" y="1036484"/>
                      </a:moveTo>
                      <a:cubicBezTo>
                        <a:pt x="377275" y="1036484"/>
                        <a:pt x="373701" y="1037200"/>
                        <a:pt x="371557" y="1040067"/>
                      </a:cubicBezTo>
                      <a:cubicBezTo>
                        <a:pt x="365125" y="1045801"/>
                        <a:pt x="365125" y="1055119"/>
                        <a:pt x="371557" y="1060136"/>
                      </a:cubicBezTo>
                      <a:cubicBezTo>
                        <a:pt x="371557" y="1060136"/>
                        <a:pt x="371557" y="1060136"/>
                        <a:pt x="442309" y="1131811"/>
                      </a:cubicBezTo>
                      <a:cubicBezTo>
                        <a:pt x="442309" y="1131811"/>
                        <a:pt x="442309" y="1131811"/>
                        <a:pt x="371557" y="1202769"/>
                      </a:cubicBezTo>
                      <a:cubicBezTo>
                        <a:pt x="365125" y="1208503"/>
                        <a:pt x="365125" y="1217820"/>
                        <a:pt x="371557" y="1222838"/>
                      </a:cubicBezTo>
                      <a:cubicBezTo>
                        <a:pt x="373701" y="1225705"/>
                        <a:pt x="377989" y="1227138"/>
                        <a:pt x="380848" y="1227138"/>
                      </a:cubicBezTo>
                      <a:cubicBezTo>
                        <a:pt x="385136" y="1227138"/>
                        <a:pt x="388709" y="1225705"/>
                        <a:pt x="391568" y="1222838"/>
                      </a:cubicBezTo>
                      <a:cubicBezTo>
                        <a:pt x="391568" y="1222838"/>
                        <a:pt x="391568" y="1222838"/>
                        <a:pt x="462320" y="1151880"/>
                      </a:cubicBezTo>
                      <a:cubicBezTo>
                        <a:pt x="462320" y="1151880"/>
                        <a:pt x="462320" y="1151880"/>
                        <a:pt x="533072" y="1222838"/>
                      </a:cubicBezTo>
                      <a:cubicBezTo>
                        <a:pt x="535216" y="1225705"/>
                        <a:pt x="539504" y="1227138"/>
                        <a:pt x="542363" y="1227138"/>
                      </a:cubicBezTo>
                      <a:cubicBezTo>
                        <a:pt x="546651" y="1227138"/>
                        <a:pt x="550224" y="1225705"/>
                        <a:pt x="553083" y="1222838"/>
                      </a:cubicBezTo>
                      <a:cubicBezTo>
                        <a:pt x="558800" y="1217820"/>
                        <a:pt x="558800" y="1208503"/>
                        <a:pt x="553083" y="1202769"/>
                      </a:cubicBezTo>
                      <a:cubicBezTo>
                        <a:pt x="553083" y="1202769"/>
                        <a:pt x="553083" y="1202769"/>
                        <a:pt x="483045" y="1131811"/>
                      </a:cubicBezTo>
                      <a:cubicBezTo>
                        <a:pt x="483045" y="1131811"/>
                        <a:pt x="483045" y="1131811"/>
                        <a:pt x="553083" y="1060136"/>
                      </a:cubicBezTo>
                      <a:cubicBezTo>
                        <a:pt x="558800" y="1055119"/>
                        <a:pt x="558800" y="1045801"/>
                        <a:pt x="553083" y="1040067"/>
                      </a:cubicBezTo>
                      <a:cubicBezTo>
                        <a:pt x="546651" y="1035050"/>
                        <a:pt x="538075" y="1035050"/>
                        <a:pt x="533072" y="1040067"/>
                      </a:cubicBezTo>
                      <a:cubicBezTo>
                        <a:pt x="533072" y="1040067"/>
                        <a:pt x="533072" y="1040067"/>
                        <a:pt x="462320" y="1111742"/>
                      </a:cubicBezTo>
                      <a:cubicBezTo>
                        <a:pt x="462320" y="1111742"/>
                        <a:pt x="462320" y="1111742"/>
                        <a:pt x="391568" y="1040067"/>
                      </a:cubicBezTo>
                      <a:cubicBezTo>
                        <a:pt x="388709" y="1037200"/>
                        <a:pt x="384421" y="1036484"/>
                        <a:pt x="380848" y="1036484"/>
                      </a:cubicBezTo>
                      <a:close/>
                      <a:moveTo>
                        <a:pt x="459937" y="955675"/>
                      </a:moveTo>
                      <a:cubicBezTo>
                        <a:pt x="555918" y="955675"/>
                        <a:pt x="633413" y="1034435"/>
                        <a:pt x="633413" y="1131094"/>
                      </a:cubicBezTo>
                      <a:cubicBezTo>
                        <a:pt x="633413" y="1227754"/>
                        <a:pt x="555918" y="1306513"/>
                        <a:pt x="459937" y="1306513"/>
                      </a:cubicBezTo>
                      <a:cubicBezTo>
                        <a:pt x="363246" y="1306513"/>
                        <a:pt x="285750" y="1227754"/>
                        <a:pt x="285750" y="1131094"/>
                      </a:cubicBezTo>
                      <a:cubicBezTo>
                        <a:pt x="285750" y="1079542"/>
                        <a:pt x="307790" y="1033003"/>
                        <a:pt x="342628" y="1000783"/>
                      </a:cubicBezTo>
                      <a:cubicBezTo>
                        <a:pt x="355425" y="990043"/>
                        <a:pt x="368933" y="980735"/>
                        <a:pt x="383864" y="972859"/>
                      </a:cubicBezTo>
                      <a:cubicBezTo>
                        <a:pt x="406615" y="962119"/>
                        <a:pt x="432210" y="955675"/>
                        <a:pt x="459937" y="955675"/>
                      </a:cubicBezTo>
                      <a:close/>
                      <a:moveTo>
                        <a:pt x="132556" y="28575"/>
                      </a:moveTo>
                      <a:cubicBezTo>
                        <a:pt x="111599" y="28575"/>
                        <a:pt x="92809" y="41127"/>
                        <a:pt x="84137" y="60325"/>
                      </a:cubicBezTo>
                      <a:cubicBezTo>
                        <a:pt x="84137" y="60325"/>
                        <a:pt x="84137" y="60325"/>
                        <a:pt x="180975" y="60325"/>
                      </a:cubicBezTo>
                      <a:cubicBezTo>
                        <a:pt x="173026" y="41127"/>
                        <a:pt x="154236" y="28575"/>
                        <a:pt x="132556" y="28575"/>
                      </a:cubicBezTo>
                      <a:close/>
                      <a:moveTo>
                        <a:pt x="132557" y="0"/>
                      </a:moveTo>
                      <a:cubicBezTo>
                        <a:pt x="169616" y="0"/>
                        <a:pt x="200973" y="25093"/>
                        <a:pt x="210950" y="59506"/>
                      </a:cubicBezTo>
                      <a:cubicBezTo>
                        <a:pt x="210950" y="59506"/>
                        <a:pt x="210950" y="59506"/>
                        <a:pt x="250860" y="59506"/>
                      </a:cubicBezTo>
                      <a:cubicBezTo>
                        <a:pt x="258699" y="59506"/>
                        <a:pt x="265113" y="65958"/>
                        <a:pt x="265113" y="73844"/>
                      </a:cubicBezTo>
                      <a:cubicBezTo>
                        <a:pt x="265113" y="73844"/>
                        <a:pt x="265113" y="73844"/>
                        <a:pt x="265113" y="163461"/>
                      </a:cubicBezTo>
                      <a:cubicBezTo>
                        <a:pt x="265113" y="171348"/>
                        <a:pt x="258699" y="177800"/>
                        <a:pt x="250860" y="177800"/>
                      </a:cubicBezTo>
                      <a:cubicBezTo>
                        <a:pt x="250860" y="177800"/>
                        <a:pt x="250860" y="177800"/>
                        <a:pt x="14254" y="177800"/>
                      </a:cubicBezTo>
                      <a:cubicBezTo>
                        <a:pt x="6414" y="177800"/>
                        <a:pt x="0" y="171348"/>
                        <a:pt x="0" y="163461"/>
                      </a:cubicBezTo>
                      <a:cubicBezTo>
                        <a:pt x="0" y="163461"/>
                        <a:pt x="0" y="163461"/>
                        <a:pt x="0" y="73844"/>
                      </a:cubicBezTo>
                      <a:cubicBezTo>
                        <a:pt x="0" y="65958"/>
                        <a:pt x="6414" y="59506"/>
                        <a:pt x="14254" y="59506"/>
                      </a:cubicBezTo>
                      <a:cubicBezTo>
                        <a:pt x="14254" y="59506"/>
                        <a:pt x="14254" y="59506"/>
                        <a:pt x="54876" y="59506"/>
                      </a:cubicBezTo>
                      <a:cubicBezTo>
                        <a:pt x="64853" y="25093"/>
                        <a:pt x="96211" y="0"/>
                        <a:pt x="13255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sp>
        <p:nvSpPr>
          <p:cNvPr id="6" name="Right Triangle 5"/>
          <p:cNvSpPr/>
          <p:nvPr/>
        </p:nvSpPr>
        <p:spPr>
          <a:xfrm flipH="1">
            <a:off x="1976281" y="6136224"/>
            <a:ext cx="9344387" cy="258375"/>
          </a:xfrm>
          <a:prstGeom prst="rtTriangl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cxnSp>
        <p:nvCxnSpPr>
          <p:cNvPr id="8" name="Straight Arrow Connector 7"/>
          <p:cNvCxnSpPr/>
          <p:nvPr/>
        </p:nvCxnSpPr>
        <p:spPr>
          <a:xfrm flipV="1">
            <a:off x="9491870" y="5321417"/>
            <a:ext cx="912217" cy="373705"/>
          </a:xfrm>
          <a:prstGeom prst="straightConnector1">
            <a:avLst/>
          </a:prstGeom>
          <a:ln w="9525" cap="rnd" cmpd="sng" algn="ctr">
            <a:solidFill>
              <a:srgbClr val="E71C5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90" name="NavigationIcon"/>
          <p:cNvGrpSpPr>
            <a:grpSpLocks noChangeAspect="1"/>
          </p:cNvGrpSpPr>
          <p:nvPr/>
        </p:nvGrpSpPr>
        <p:grpSpPr>
          <a:xfrm>
            <a:off x="11644824" y="140635"/>
            <a:ext cx="457200" cy="350245"/>
            <a:chOff x="5377816" y="2865501"/>
            <a:chExt cx="1434846" cy="1099185"/>
          </a:xfrm>
        </p:grpSpPr>
        <p:sp>
          <p:nvSpPr>
            <p:cNvPr id="102" name="Freeform 40">
              <a:extLst>
                <a:ext uri="{FF2B5EF4-FFF2-40B4-BE49-F238E27FC236}">
                  <a16:creationId xmlns:a16="http://schemas.microsoft.com/office/drawing/2014/main" xmlns="" id="{D57879F5-9B1E-462F-9BDA-EED0EB7A4B61}"/>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103" name="Freeform 41">
              <a:extLst>
                <a:ext uri="{FF2B5EF4-FFF2-40B4-BE49-F238E27FC236}">
                  <a16:creationId xmlns:a16="http://schemas.microsoft.com/office/drawing/2014/main" xmlns="" id="{D6078FFA-8F8C-4A72-858A-E911AAC5F6EA}"/>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chemeClr val="bg1">
                <a:lumMod val="10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custDataLst>
      <p:tags r:id="rId1"/>
    </p:custDataLst>
    <p:extLst>
      <p:ext uri="{BB962C8B-B14F-4D97-AF65-F5344CB8AC3E}">
        <p14:creationId xmlns:p14="http://schemas.microsoft.com/office/powerpoint/2010/main" val="135543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EE4P_MASTERWIZARD_DRAFT" val="0"/>
  <p:tag name="EE4P_LANGUAGE_ID"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uZqmW4ES5qpmTthFC68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FaWLNrASUS9._5thUQh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zmyEOe9T0qC92.xk4.a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O1e3YTzSTmfUOnh1ghV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GYBaW49RGizWJVpmV5mN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DaagkMQQVi.imby39p11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t_DxO1aSzuf_VDmfiRUS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PyuGS.YSPijq6ewB8RNM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ja0.A3.RZeyUXTL3bAa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yioWay7RUOKiTzJ3l0wcQ"/>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d1ZsgoSRXeFVZrlvDbhb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vOep0ChREe3b_fQiZUWc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7AeP33mQmyQxMMXhxcdk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zITSZiZRnGtLIgJitrM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oSxJ.lDQCCn0WtYHk1Wk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02OP3oDTjy.F8dAvIvfE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aAv3cYGQZuQ6bW29xF51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9fXDDwTrQ4q8JnmkYzlEe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uyUPmVmSnynS1ePRIaTO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6rHYGvYR5KkzqB2clp5Gg"/>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kP14o8PQEGGlvfRhwUFhg"/>
</p:tagLst>
</file>

<file path=ppt/tags/tag12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5.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26.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127.xml><?xml version="1.0" encoding="utf-8"?>
<p:tagLst xmlns:a="http://schemas.openxmlformats.org/drawingml/2006/main" xmlns:r="http://schemas.openxmlformats.org/officeDocument/2006/relationships" xmlns:p="http://schemas.openxmlformats.org/presentationml/2006/main">
  <p:tag name="EE4P_STRETCH" val="2"/>
  <p:tag name="EE4P_LAYOUT_ID" val="K"/>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3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4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44.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73.xml><?xml version="1.0" encoding="utf-8"?>
<p:tagLst xmlns:a="http://schemas.openxmlformats.org/drawingml/2006/main" xmlns:r="http://schemas.openxmlformats.org/officeDocument/2006/relationships" xmlns:p="http://schemas.openxmlformats.org/presentationml/2006/main">
  <p:tag name="BCG_MODE" val="Presentation"/>
  <p:tag name="BCG_DESIGN" val="Four heading"/>
  <p:tag name="EE4P_STRETCH" val="1"/>
  <p:tag name="EE4P_LAYOUT_ID" val="K"/>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7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7.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6rzvtvGaQn.QS0wVB8wvdg"/>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KxREC2DSj6GMVNrJ.ki7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VrokPy4Q6mmreP6QmZb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2T8aTxgQqqHB50gq0OO8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JCHvggTRnGmmU3fcRka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StUNeLWQnikZ8zr3ENL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_e8UYyYTGaINemUgYe83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gLv76tOSbGE6BwtOam72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c30oqKCSQeptLXF85dq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N6H0HhBTuyRtp.a2l2Q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3vnAXwSQ7eOMPew7wqnfg"/>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lzkWmHLbQ36CY2CJmmlU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7jGJxccR3.GS9cz60bTZ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0Mw.DIHoSi6zS5GKKncU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uPR_GUTSUKLVW7JlWE8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FVd_EiSQUWRsXKO.pZF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kcQb9ajSRa_xiJOaxhM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OIwxOK8SHSou7doBtze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O90bInHQrWMLM4fQ8V2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NjS0fOOTHS0ikC0e38J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iBjVOfHT9SeDDrtpDYsgQ"/>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917</TotalTime>
  <Words>1244</Words>
  <Application>Microsoft Office PowerPoint</Application>
  <PresentationFormat>Widescreen</PresentationFormat>
  <Paragraphs>238</Paragraphs>
  <Slides>19</Slides>
  <Notes>19</Notes>
  <HiddenSlides>5</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19</vt:i4>
      </vt:variant>
      <vt:variant>
        <vt:lpstr>Custom Shows</vt:lpstr>
      </vt:variant>
      <vt:variant>
        <vt:i4>1</vt:i4>
      </vt:variant>
    </vt:vector>
  </HeadingPairs>
  <TitlesOfParts>
    <vt:vector size="26" baseType="lpstr">
      <vt:lpstr>Arial</vt:lpstr>
      <vt:lpstr>Proxima Nova Rg</vt:lpstr>
      <vt:lpstr>Trebuchet MS</vt:lpstr>
      <vt:lpstr>BCG Grid 16:9</vt:lpstr>
      <vt:lpstr>think-cell Slide</vt:lpstr>
      <vt:lpstr>Chart</vt:lpstr>
      <vt:lpstr>Cinepolis: Data Science Learning Session #1</vt:lpstr>
      <vt:lpstr>Agenda</vt:lpstr>
      <vt:lpstr>Curriculum and schedule</vt:lpstr>
      <vt:lpstr>Our objectives for the bi-weekly learning session</vt:lpstr>
      <vt:lpstr>Over the next three months we will cover a variety of topics in addition to status updates and code reviews</vt:lpstr>
      <vt:lpstr>Our Journey to today </vt:lpstr>
      <vt:lpstr>We identified a MVP plan with three key objectives</vt:lpstr>
      <vt:lpstr>Three use cases with high potential were selected based on execution feasibility and impact</vt:lpstr>
      <vt:lpstr>A roadmap was created to iterate and increase the complexity of modeling for each of the use cases</vt:lpstr>
      <vt:lpstr>Data Science overview</vt:lpstr>
      <vt:lpstr>Successful data science initiatives integrate three key functional areas: technology, data, and modeling</vt:lpstr>
      <vt:lpstr>Successful projects find themselves in virtuous cycles where each component drives another</vt:lpstr>
      <vt:lpstr>Many steps have to be taken before a value-adding model can be constructed and implemented</vt:lpstr>
      <vt:lpstr>Progress update</vt:lpstr>
      <vt:lpstr>Each use case family has been detailed to specific test use cases with clear hypotheses to validate in pilots</vt:lpstr>
      <vt:lpstr>Customer clustering is to improve our understanding of customer behavior for the next frequency challenge</vt:lpstr>
      <vt:lpstr>Technical walkthrough</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sper, James</dc:creator>
  <cp:lastModifiedBy>Jasper, James</cp:lastModifiedBy>
  <cp:revision>58</cp:revision>
  <cp:lastPrinted>2016-04-06T18:59:25Z</cp:lastPrinted>
  <dcterms:created xsi:type="dcterms:W3CDTF">2018-08-21T14:06:53Z</dcterms:created>
  <dcterms:modified xsi:type="dcterms:W3CDTF">2018-08-23T12:2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